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25"/>
  </p:notesMasterIdLst>
  <p:sldIdLst>
    <p:sldId id="256" r:id="rId3"/>
    <p:sldId id="282" r:id="rId4"/>
    <p:sldId id="280" r:id="rId5"/>
    <p:sldId id="281" r:id="rId6"/>
    <p:sldId id="257" r:id="rId7"/>
    <p:sldId id="258" r:id="rId8"/>
    <p:sldId id="276" r:id="rId9"/>
    <p:sldId id="269" r:id="rId10"/>
    <p:sldId id="271" r:id="rId11"/>
    <p:sldId id="283" r:id="rId12"/>
    <p:sldId id="278" r:id="rId13"/>
    <p:sldId id="279" r:id="rId14"/>
    <p:sldId id="277" r:id="rId15"/>
    <p:sldId id="389" r:id="rId16"/>
    <p:sldId id="390" r:id="rId17"/>
    <p:sldId id="284" r:id="rId18"/>
    <p:sldId id="286" r:id="rId19"/>
    <p:sldId id="287" r:id="rId20"/>
    <p:sldId id="391" r:id="rId21"/>
    <p:sldId id="392" r:id="rId22"/>
    <p:sldId id="393" r:id="rId23"/>
    <p:sldId id="394" r:id="rId24"/>
  </p:sldIdLst>
  <p:sldSz cx="9902825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397" userDrawn="1">
          <p15:clr>
            <a:srgbClr val="F26B43"/>
          </p15:clr>
        </p15:guide>
        <p15:guide id="3" pos="1758" userDrawn="1">
          <p15:clr>
            <a:srgbClr val="F26B43"/>
          </p15:clr>
        </p15:guide>
        <p15:guide id="4" pos="2030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3731" userDrawn="1">
          <p15:clr>
            <a:srgbClr val="F26B43"/>
          </p15:clr>
        </p15:guide>
        <p15:guide id="9" orient="horz" pos="2727" userDrawn="1">
          <p15:clr>
            <a:srgbClr val="F26B43"/>
          </p15:clr>
        </p15:guide>
        <p15:guide id="10" orient="horz" pos="1593" userDrawn="1">
          <p15:clr>
            <a:srgbClr val="F26B43"/>
          </p15:clr>
        </p15:guide>
        <p15:guide id="11" pos="4480" userDrawn="1">
          <p15:clr>
            <a:srgbClr val="F26B43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3569"/>
    <a:srgbClr val="0FA3D7"/>
    <a:srgbClr val="33855E"/>
    <a:srgbClr val="5F167D"/>
    <a:srgbClr val="7F0566"/>
    <a:srgbClr val="3F5F2B"/>
    <a:srgbClr val="003500"/>
    <a:srgbClr val="1F0015"/>
    <a:srgbClr val="9F7247"/>
    <a:srgbClr val="DFCB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51F445-CC48-4C05-8290-1B2DC9EBFE71}" v="240" dt="2022-08-11T11:18:07.1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1310" y="72"/>
      </p:cViewPr>
      <p:guideLst>
        <p:guide orient="horz" pos="346"/>
        <p:guide pos="397"/>
        <p:guide pos="1758"/>
        <p:guide pos="2030"/>
        <p:guide orient="horz" pos="1253"/>
        <p:guide orient="horz" pos="2160"/>
        <p:guide pos="3731"/>
        <p:guide orient="horz" pos="2727"/>
        <p:guide orient="horz" pos="1593"/>
        <p:guide pos="44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scal Krömpel" userId="38dfee290712cc20" providerId="LiveId" clId="{D351F445-CC48-4C05-8290-1B2DC9EBFE71}"/>
    <pc:docChg chg="undo custSel addSld delSld modSld">
      <pc:chgData name="Pascal Krömpel" userId="38dfee290712cc20" providerId="LiveId" clId="{D351F445-CC48-4C05-8290-1B2DC9EBFE71}" dt="2022-08-16T13:23:09.420" v="1631" actId="20577"/>
      <pc:docMkLst>
        <pc:docMk/>
      </pc:docMkLst>
      <pc:sldChg chg="modSp mod">
        <pc:chgData name="Pascal Krömpel" userId="38dfee290712cc20" providerId="LiveId" clId="{D351F445-CC48-4C05-8290-1B2DC9EBFE71}" dt="2022-08-16T13:23:09.420" v="1631" actId="20577"/>
        <pc:sldMkLst>
          <pc:docMk/>
          <pc:sldMk cId="1577162700" sldId="281"/>
        </pc:sldMkLst>
        <pc:spChg chg="mod">
          <ac:chgData name="Pascal Krömpel" userId="38dfee290712cc20" providerId="LiveId" clId="{D351F445-CC48-4C05-8290-1B2DC9EBFE71}" dt="2022-08-16T13:22:52.988" v="1629" actId="20577"/>
          <ac:spMkLst>
            <pc:docMk/>
            <pc:sldMk cId="1577162700" sldId="281"/>
            <ac:spMk id="9" creationId="{1D8BE6DC-CC37-F445-3A9F-555FF05D2D31}"/>
          </ac:spMkLst>
        </pc:spChg>
        <pc:spChg chg="mod">
          <ac:chgData name="Pascal Krömpel" userId="38dfee290712cc20" providerId="LiveId" clId="{D351F445-CC48-4C05-8290-1B2DC9EBFE71}" dt="2022-08-16T13:23:09.420" v="1631" actId="20577"/>
          <ac:spMkLst>
            <pc:docMk/>
            <pc:sldMk cId="1577162700" sldId="281"/>
            <ac:spMk id="10" creationId="{E8704073-9BD4-9EDA-5BDB-6F63BB374B48}"/>
          </ac:spMkLst>
        </pc:spChg>
      </pc:sldChg>
      <pc:sldChg chg="addSp delSp modSp new del mod">
        <pc:chgData name="Pascal Krömpel" userId="38dfee290712cc20" providerId="LiveId" clId="{D351F445-CC48-4C05-8290-1B2DC9EBFE71}" dt="2022-08-11T10:27:51.607" v="920" actId="2696"/>
        <pc:sldMkLst>
          <pc:docMk/>
          <pc:sldMk cId="1124279302" sldId="285"/>
        </pc:sldMkLst>
        <pc:spChg chg="del">
          <ac:chgData name="Pascal Krömpel" userId="38dfee290712cc20" providerId="LiveId" clId="{D351F445-CC48-4C05-8290-1B2DC9EBFE71}" dt="2022-08-10T15:25:38.802" v="2" actId="478"/>
          <ac:spMkLst>
            <pc:docMk/>
            <pc:sldMk cId="1124279302" sldId="285"/>
            <ac:spMk id="2" creationId="{94865E9B-DD3C-6B6D-E541-35396150C60D}"/>
          </ac:spMkLst>
        </pc:spChg>
        <pc:spChg chg="del">
          <ac:chgData name="Pascal Krömpel" userId="38dfee290712cc20" providerId="LiveId" clId="{D351F445-CC48-4C05-8290-1B2DC9EBFE71}" dt="2022-08-10T15:25:37.859" v="1" actId="478"/>
          <ac:spMkLst>
            <pc:docMk/>
            <pc:sldMk cId="1124279302" sldId="285"/>
            <ac:spMk id="3" creationId="{4297B606-457B-D3BA-0591-A7D71FCBE2B1}"/>
          </ac:spMkLst>
        </pc:spChg>
        <pc:spChg chg="add mod">
          <ac:chgData name="Pascal Krömpel" userId="38dfee290712cc20" providerId="LiveId" clId="{D351F445-CC48-4C05-8290-1B2DC9EBFE71}" dt="2022-08-10T15:26:25.020" v="11" actId="1076"/>
          <ac:spMkLst>
            <pc:docMk/>
            <pc:sldMk cId="1124279302" sldId="285"/>
            <ac:spMk id="7" creationId="{0914D68E-28B4-1CBF-0424-4AB4A5E16EC6}"/>
          </ac:spMkLst>
        </pc:spChg>
        <pc:spChg chg="add mod">
          <ac:chgData name="Pascal Krömpel" userId="38dfee290712cc20" providerId="LiveId" clId="{D351F445-CC48-4C05-8290-1B2DC9EBFE71}" dt="2022-08-10T15:28:11.572" v="35" actId="1076"/>
          <ac:spMkLst>
            <pc:docMk/>
            <pc:sldMk cId="1124279302" sldId="285"/>
            <ac:spMk id="8" creationId="{2BDF7302-56FD-86DA-08F9-2AE32DE1298C}"/>
          </ac:spMkLst>
        </pc:spChg>
        <pc:picChg chg="add mod">
          <ac:chgData name="Pascal Krömpel" userId="38dfee290712cc20" providerId="LiveId" clId="{D351F445-CC48-4C05-8290-1B2DC9EBFE71}" dt="2022-08-10T15:27:42.319" v="28" actId="1076"/>
          <ac:picMkLst>
            <pc:docMk/>
            <pc:sldMk cId="1124279302" sldId="285"/>
            <ac:picMk id="5" creationId="{9560DD51-6CE5-C65E-A261-91C3C3FED5BF}"/>
          </ac:picMkLst>
        </pc:picChg>
      </pc:sldChg>
      <pc:sldChg chg="addSp delSp modSp add mod setBg">
        <pc:chgData name="Pascal Krömpel" userId="38dfee290712cc20" providerId="LiveId" clId="{D351F445-CC48-4C05-8290-1B2DC9EBFE71}" dt="2022-08-11T09:16:30.311" v="919" actId="20577"/>
        <pc:sldMkLst>
          <pc:docMk/>
          <pc:sldMk cId="4040526817" sldId="286"/>
        </pc:sldMkLst>
        <pc:spChg chg="del">
          <ac:chgData name="Pascal Krömpel" userId="38dfee290712cc20" providerId="LiveId" clId="{D351F445-CC48-4C05-8290-1B2DC9EBFE71}" dt="2022-08-10T15:28:25.098" v="38" actId="478"/>
          <ac:spMkLst>
            <pc:docMk/>
            <pc:sldMk cId="4040526817" sldId="286"/>
            <ac:spMk id="7" creationId="{0914D68E-28B4-1CBF-0424-4AB4A5E16EC6}"/>
          </ac:spMkLst>
        </pc:spChg>
        <pc:spChg chg="mod">
          <ac:chgData name="Pascal Krömpel" userId="38dfee290712cc20" providerId="LiveId" clId="{D351F445-CC48-4C05-8290-1B2DC9EBFE71}" dt="2022-08-10T15:31:40.786" v="244" actId="692"/>
          <ac:spMkLst>
            <pc:docMk/>
            <pc:sldMk cId="4040526817" sldId="286"/>
            <ac:spMk id="8" creationId="{2BDF7302-56FD-86DA-08F9-2AE32DE1298C}"/>
          </ac:spMkLst>
        </pc:spChg>
        <pc:spChg chg="add mod">
          <ac:chgData name="Pascal Krömpel" userId="38dfee290712cc20" providerId="LiveId" clId="{D351F445-CC48-4C05-8290-1B2DC9EBFE71}" dt="2022-08-10T15:31:45.938" v="248" actId="692"/>
          <ac:spMkLst>
            <pc:docMk/>
            <pc:sldMk cId="4040526817" sldId="286"/>
            <ac:spMk id="9" creationId="{9B21043B-F1DC-6D22-6FE1-80A360D4134D}"/>
          </ac:spMkLst>
        </pc:spChg>
        <pc:spChg chg="add mod">
          <ac:chgData name="Pascal Krömpel" userId="38dfee290712cc20" providerId="LiveId" clId="{D351F445-CC48-4C05-8290-1B2DC9EBFE71}" dt="2022-08-10T15:32:31.969" v="264" actId="14100"/>
          <ac:spMkLst>
            <pc:docMk/>
            <pc:sldMk cId="4040526817" sldId="286"/>
            <ac:spMk id="12" creationId="{3EF6E5D9-779E-3879-DE0D-2014D387433E}"/>
          </ac:spMkLst>
        </pc:spChg>
        <pc:spChg chg="add mod">
          <ac:chgData name="Pascal Krömpel" userId="38dfee290712cc20" providerId="LiveId" clId="{D351F445-CC48-4C05-8290-1B2DC9EBFE71}" dt="2022-08-10T15:32:42.688" v="266" actId="1076"/>
          <ac:spMkLst>
            <pc:docMk/>
            <pc:sldMk cId="4040526817" sldId="286"/>
            <ac:spMk id="13" creationId="{813D34C3-A917-F257-747A-1985274B77E8}"/>
          </ac:spMkLst>
        </pc:spChg>
        <pc:spChg chg="add mod">
          <ac:chgData name="Pascal Krömpel" userId="38dfee290712cc20" providerId="LiveId" clId="{D351F445-CC48-4C05-8290-1B2DC9EBFE71}" dt="2022-08-10T15:33:20.058" v="292" actId="1076"/>
          <ac:spMkLst>
            <pc:docMk/>
            <pc:sldMk cId="4040526817" sldId="286"/>
            <ac:spMk id="14" creationId="{1540C2A2-D07C-EE6E-44B5-FDA1B70FAE66}"/>
          </ac:spMkLst>
        </pc:spChg>
        <pc:spChg chg="add mod">
          <ac:chgData name="Pascal Krömpel" userId="38dfee290712cc20" providerId="LiveId" clId="{D351F445-CC48-4C05-8290-1B2DC9EBFE71}" dt="2022-08-10T15:33:31.447" v="294" actId="1076"/>
          <ac:spMkLst>
            <pc:docMk/>
            <pc:sldMk cId="4040526817" sldId="286"/>
            <ac:spMk id="15" creationId="{4AF148EC-0AB3-B7CC-AB9F-6330103B2246}"/>
          </ac:spMkLst>
        </pc:spChg>
        <pc:spChg chg="add mod">
          <ac:chgData name="Pascal Krömpel" userId="38dfee290712cc20" providerId="LiveId" clId="{D351F445-CC48-4C05-8290-1B2DC9EBFE71}" dt="2022-08-10T15:39:14.588" v="416" actId="1076"/>
          <ac:spMkLst>
            <pc:docMk/>
            <pc:sldMk cId="4040526817" sldId="286"/>
            <ac:spMk id="16" creationId="{44C45541-E4C9-9B37-8EEA-A7AD11E7B8BC}"/>
          </ac:spMkLst>
        </pc:spChg>
        <pc:spChg chg="add mod">
          <ac:chgData name="Pascal Krömpel" userId="38dfee290712cc20" providerId="LiveId" clId="{D351F445-CC48-4C05-8290-1B2DC9EBFE71}" dt="2022-08-10T15:34:53.639" v="352" actId="1076"/>
          <ac:spMkLst>
            <pc:docMk/>
            <pc:sldMk cId="4040526817" sldId="286"/>
            <ac:spMk id="17" creationId="{8872B314-4FCF-E300-4873-FAEC556FED00}"/>
          </ac:spMkLst>
        </pc:spChg>
        <pc:spChg chg="add mod">
          <ac:chgData name="Pascal Krömpel" userId="38dfee290712cc20" providerId="LiveId" clId="{D351F445-CC48-4C05-8290-1B2DC9EBFE71}" dt="2022-08-10T15:39:46.449" v="420" actId="1076"/>
          <ac:spMkLst>
            <pc:docMk/>
            <pc:sldMk cId="4040526817" sldId="286"/>
            <ac:spMk id="18" creationId="{5E7AED7C-4AF0-1367-37BF-645D8C584C59}"/>
          </ac:spMkLst>
        </pc:spChg>
        <pc:spChg chg="add mod">
          <ac:chgData name="Pascal Krömpel" userId="38dfee290712cc20" providerId="LiveId" clId="{D351F445-CC48-4C05-8290-1B2DC9EBFE71}" dt="2022-08-10T15:40:06.079" v="423" actId="1076"/>
          <ac:spMkLst>
            <pc:docMk/>
            <pc:sldMk cId="4040526817" sldId="286"/>
            <ac:spMk id="19" creationId="{CC2735C5-5469-285C-44FF-CB45DDCA1D2D}"/>
          </ac:spMkLst>
        </pc:spChg>
        <pc:spChg chg="add mod">
          <ac:chgData name="Pascal Krömpel" userId="38dfee290712cc20" providerId="LiveId" clId="{D351F445-CC48-4C05-8290-1B2DC9EBFE71}" dt="2022-08-10T15:40:24.561" v="425" actId="1076"/>
          <ac:spMkLst>
            <pc:docMk/>
            <pc:sldMk cId="4040526817" sldId="286"/>
            <ac:spMk id="20" creationId="{EBE9CE33-850B-BD38-2C6D-1D8EAFEDC9D8}"/>
          </ac:spMkLst>
        </pc:spChg>
        <pc:spChg chg="add mod">
          <ac:chgData name="Pascal Krömpel" userId="38dfee290712cc20" providerId="LiveId" clId="{D351F445-CC48-4C05-8290-1B2DC9EBFE71}" dt="2022-08-10T15:40:58.505" v="430" actId="1076"/>
          <ac:spMkLst>
            <pc:docMk/>
            <pc:sldMk cId="4040526817" sldId="286"/>
            <ac:spMk id="21" creationId="{5CCE19C0-1EB4-0376-6CAF-9C922639CE57}"/>
          </ac:spMkLst>
        </pc:spChg>
        <pc:spChg chg="add mod">
          <ac:chgData name="Pascal Krömpel" userId="38dfee290712cc20" providerId="LiveId" clId="{D351F445-CC48-4C05-8290-1B2DC9EBFE71}" dt="2022-08-10T15:41:06.643" v="432" actId="1076"/>
          <ac:spMkLst>
            <pc:docMk/>
            <pc:sldMk cId="4040526817" sldId="286"/>
            <ac:spMk id="22" creationId="{512CBF8B-8E16-A144-F42F-D21AD9349AE0}"/>
          </ac:spMkLst>
        </pc:spChg>
        <pc:spChg chg="add mod">
          <ac:chgData name="Pascal Krömpel" userId="38dfee290712cc20" providerId="LiveId" clId="{D351F445-CC48-4C05-8290-1B2DC9EBFE71}" dt="2022-08-10T15:41:19.175" v="436" actId="1076"/>
          <ac:spMkLst>
            <pc:docMk/>
            <pc:sldMk cId="4040526817" sldId="286"/>
            <ac:spMk id="23" creationId="{783DA46B-97FB-529F-2383-B9240BA662B4}"/>
          </ac:spMkLst>
        </pc:spChg>
        <pc:spChg chg="add mod">
          <ac:chgData name="Pascal Krömpel" userId="38dfee290712cc20" providerId="LiveId" clId="{D351F445-CC48-4C05-8290-1B2DC9EBFE71}" dt="2022-08-10T15:35:58.101" v="372" actId="1076"/>
          <ac:spMkLst>
            <pc:docMk/>
            <pc:sldMk cId="4040526817" sldId="286"/>
            <ac:spMk id="24" creationId="{C59F29DD-DB0F-EE1C-CD64-ECDA516A6785}"/>
          </ac:spMkLst>
        </pc:spChg>
        <pc:spChg chg="add mod">
          <ac:chgData name="Pascal Krömpel" userId="38dfee290712cc20" providerId="LiveId" clId="{D351F445-CC48-4C05-8290-1B2DC9EBFE71}" dt="2022-08-10T15:36:17.254" v="378" actId="1076"/>
          <ac:spMkLst>
            <pc:docMk/>
            <pc:sldMk cId="4040526817" sldId="286"/>
            <ac:spMk id="25" creationId="{59F8BA5B-07D5-A2E8-C99C-E3C5B867C18F}"/>
          </ac:spMkLst>
        </pc:spChg>
        <pc:spChg chg="add mod">
          <ac:chgData name="Pascal Krömpel" userId="38dfee290712cc20" providerId="LiveId" clId="{D351F445-CC48-4C05-8290-1B2DC9EBFE71}" dt="2022-08-10T15:37:53.330" v="404" actId="1076"/>
          <ac:spMkLst>
            <pc:docMk/>
            <pc:sldMk cId="4040526817" sldId="286"/>
            <ac:spMk id="26" creationId="{7835752A-B915-8DF4-68B0-E38CCBBA0497}"/>
          </ac:spMkLst>
        </pc:spChg>
        <pc:spChg chg="add mod">
          <ac:chgData name="Pascal Krömpel" userId="38dfee290712cc20" providerId="LiveId" clId="{D351F445-CC48-4C05-8290-1B2DC9EBFE71}" dt="2022-08-10T15:37:51.004" v="403" actId="1076"/>
          <ac:spMkLst>
            <pc:docMk/>
            <pc:sldMk cId="4040526817" sldId="286"/>
            <ac:spMk id="27" creationId="{C0DAEEA8-8399-35CA-2318-351DC552814C}"/>
          </ac:spMkLst>
        </pc:spChg>
        <pc:spChg chg="add mod">
          <ac:chgData name="Pascal Krömpel" userId="38dfee290712cc20" providerId="LiveId" clId="{D351F445-CC48-4C05-8290-1B2DC9EBFE71}" dt="2022-08-10T15:38:40.627" v="409" actId="1076"/>
          <ac:spMkLst>
            <pc:docMk/>
            <pc:sldMk cId="4040526817" sldId="286"/>
            <ac:spMk id="28" creationId="{2B67FB90-186B-2CCD-A245-2DAF4A38589B}"/>
          </ac:spMkLst>
        </pc:spChg>
        <pc:spChg chg="add mod">
          <ac:chgData name="Pascal Krömpel" userId="38dfee290712cc20" providerId="LiveId" clId="{D351F445-CC48-4C05-8290-1B2DC9EBFE71}" dt="2022-08-10T15:42:30.561" v="460" actId="1076"/>
          <ac:spMkLst>
            <pc:docMk/>
            <pc:sldMk cId="4040526817" sldId="286"/>
            <ac:spMk id="29" creationId="{2C33EF85-7262-F28B-84CF-E3AC40D95534}"/>
          </ac:spMkLst>
        </pc:spChg>
        <pc:spChg chg="add mod">
          <ac:chgData name="Pascal Krömpel" userId="38dfee290712cc20" providerId="LiveId" clId="{D351F445-CC48-4C05-8290-1B2DC9EBFE71}" dt="2022-08-10T15:38:45.813" v="411" actId="1076"/>
          <ac:spMkLst>
            <pc:docMk/>
            <pc:sldMk cId="4040526817" sldId="286"/>
            <ac:spMk id="30" creationId="{4C58B993-61BC-60B6-5245-DE46D365F38F}"/>
          </ac:spMkLst>
        </pc:spChg>
        <pc:spChg chg="add mod">
          <ac:chgData name="Pascal Krömpel" userId="38dfee290712cc20" providerId="LiveId" clId="{D351F445-CC48-4C05-8290-1B2DC9EBFE71}" dt="2022-08-10T15:38:55.684" v="415" actId="1076"/>
          <ac:spMkLst>
            <pc:docMk/>
            <pc:sldMk cId="4040526817" sldId="286"/>
            <ac:spMk id="31" creationId="{C5AD27AE-5DBE-5F90-0ECB-20D9BD57D270}"/>
          </ac:spMkLst>
        </pc:spChg>
        <pc:spChg chg="add mod">
          <ac:chgData name="Pascal Krömpel" userId="38dfee290712cc20" providerId="LiveId" clId="{D351F445-CC48-4C05-8290-1B2DC9EBFE71}" dt="2022-08-10T15:43:37.270" v="510" actId="1076"/>
          <ac:spMkLst>
            <pc:docMk/>
            <pc:sldMk cId="4040526817" sldId="286"/>
            <ac:spMk id="43" creationId="{0894D059-EB4E-06C6-7933-436C4ABE83D3}"/>
          </ac:spMkLst>
        </pc:spChg>
        <pc:spChg chg="add mod">
          <ac:chgData name="Pascal Krömpel" userId="38dfee290712cc20" providerId="LiveId" clId="{D351F445-CC48-4C05-8290-1B2DC9EBFE71}" dt="2022-08-10T15:43:52.080" v="512" actId="1076"/>
          <ac:spMkLst>
            <pc:docMk/>
            <pc:sldMk cId="4040526817" sldId="286"/>
            <ac:spMk id="45" creationId="{4588052F-5281-1F5F-D6D5-7B9865F22F89}"/>
          </ac:spMkLst>
        </pc:spChg>
        <pc:spChg chg="add mod">
          <ac:chgData name="Pascal Krömpel" userId="38dfee290712cc20" providerId="LiveId" clId="{D351F445-CC48-4C05-8290-1B2DC9EBFE71}" dt="2022-08-11T09:16:30.311" v="919" actId="20577"/>
          <ac:spMkLst>
            <pc:docMk/>
            <pc:sldMk cId="4040526817" sldId="286"/>
            <ac:spMk id="95" creationId="{DAC00019-E737-3CAC-ACB1-02BFD9FBE6D0}"/>
          </ac:spMkLst>
        </pc:spChg>
        <pc:spChg chg="add mod">
          <ac:chgData name="Pascal Krömpel" userId="38dfee290712cc20" providerId="LiveId" clId="{D351F445-CC48-4C05-8290-1B2DC9EBFE71}" dt="2022-08-11T09:16:16.578" v="903"/>
          <ac:spMkLst>
            <pc:docMk/>
            <pc:sldMk cId="4040526817" sldId="286"/>
            <ac:spMk id="96" creationId="{545D7250-0D1B-0D0B-D801-E7C7DAE0BD7D}"/>
          </ac:spMkLst>
        </pc:spChg>
        <pc:grpChg chg="add del mod">
          <ac:chgData name="Pascal Krömpel" userId="38dfee290712cc20" providerId="LiveId" clId="{D351F445-CC48-4C05-8290-1B2DC9EBFE71}" dt="2022-08-11T09:07:53.192" v="650"/>
          <ac:grpSpMkLst>
            <pc:docMk/>
            <pc:sldMk cId="4040526817" sldId="286"/>
            <ac:grpSpMk id="5" creationId="{BC3AF674-EAC2-4094-28D1-4DC435B58441}"/>
          </ac:grpSpMkLst>
        </pc:grpChg>
        <pc:grpChg chg="mod">
          <ac:chgData name="Pascal Krömpel" userId="38dfee290712cc20" providerId="LiveId" clId="{D351F445-CC48-4C05-8290-1B2DC9EBFE71}" dt="2022-08-11T09:07:51.361" v="643"/>
          <ac:grpSpMkLst>
            <pc:docMk/>
            <pc:sldMk cId="4040526817" sldId="286"/>
            <ac:grpSpMk id="37" creationId="{D545A565-0788-C00A-4121-15C0885D3EA9}"/>
          </ac:grpSpMkLst>
        </pc:grpChg>
        <pc:picChg chg="del">
          <ac:chgData name="Pascal Krömpel" userId="38dfee290712cc20" providerId="LiveId" clId="{D351F445-CC48-4C05-8290-1B2DC9EBFE71}" dt="2022-08-10T15:28:21.870" v="37" actId="478"/>
          <ac:picMkLst>
            <pc:docMk/>
            <pc:sldMk cId="4040526817" sldId="286"/>
            <ac:picMk id="5" creationId="{9560DD51-6CE5-C65E-A261-91C3C3FED5BF}"/>
          </ac:picMkLst>
        </pc:picChg>
        <pc:inkChg chg="add del mod">
          <ac:chgData name="Pascal Krömpel" userId="38dfee290712cc20" providerId="LiveId" clId="{D351F445-CC48-4C05-8290-1B2DC9EBFE71}" dt="2022-08-11T09:07:53.583" v="651" actId="9405"/>
          <ac:inkMkLst>
            <pc:docMk/>
            <pc:sldMk cId="4040526817" sldId="286"/>
            <ac:inkMk id="2" creationId="{8B17F939-78BF-80D5-0FE2-A1BB755BAF32}"/>
          </ac:inkMkLst>
        </pc:inkChg>
        <pc:inkChg chg="add del mod">
          <ac:chgData name="Pascal Krömpel" userId="38dfee290712cc20" providerId="LiveId" clId="{D351F445-CC48-4C05-8290-1B2DC9EBFE71}" dt="2022-08-11T09:07:53.192" v="650"/>
          <ac:inkMkLst>
            <pc:docMk/>
            <pc:sldMk cId="4040526817" sldId="286"/>
            <ac:inkMk id="4" creationId="{75EE2493-C856-7E48-E3F8-A2645D5B73DC}"/>
          </ac:inkMkLst>
        </pc:inkChg>
        <pc:inkChg chg="add del mod">
          <ac:chgData name="Pascal Krömpel" userId="38dfee290712cc20" providerId="LiveId" clId="{D351F445-CC48-4C05-8290-1B2DC9EBFE71}" dt="2022-08-11T09:07:53.129" v="648" actId="9405"/>
          <ac:inkMkLst>
            <pc:docMk/>
            <pc:sldMk cId="4040526817" sldId="286"/>
            <ac:inkMk id="7" creationId="{683686C7-7821-FFCF-2351-213B7E761624}"/>
          </ac:inkMkLst>
        </pc:inkChg>
        <pc:inkChg chg="add del mod">
          <ac:chgData name="Pascal Krömpel" userId="38dfee290712cc20" providerId="LiveId" clId="{D351F445-CC48-4C05-8290-1B2DC9EBFE71}" dt="2022-08-11T09:07:52.643" v="647" actId="9405"/>
          <ac:inkMkLst>
            <pc:docMk/>
            <pc:sldMk cId="4040526817" sldId="286"/>
            <ac:inkMk id="32" creationId="{0D943F2D-748C-BB87-002C-4EC0530483C7}"/>
          </ac:inkMkLst>
        </pc:inkChg>
        <pc:inkChg chg="add del mod">
          <ac:chgData name="Pascal Krömpel" userId="38dfee290712cc20" providerId="LiveId" clId="{D351F445-CC48-4C05-8290-1B2DC9EBFE71}" dt="2022-08-11T09:07:52.581" v="646" actId="9405"/>
          <ac:inkMkLst>
            <pc:docMk/>
            <pc:sldMk cId="4040526817" sldId="286"/>
            <ac:inkMk id="33" creationId="{25F63769-B12C-44BB-5D98-59F941BA9198}"/>
          </ac:inkMkLst>
        </pc:inkChg>
        <pc:inkChg chg="add del mod">
          <ac:chgData name="Pascal Krömpel" userId="38dfee290712cc20" providerId="LiveId" clId="{D351F445-CC48-4C05-8290-1B2DC9EBFE71}" dt="2022-08-11T09:07:52.253" v="645" actId="9405"/>
          <ac:inkMkLst>
            <pc:docMk/>
            <pc:sldMk cId="4040526817" sldId="286"/>
            <ac:inkMk id="34" creationId="{DDCDDA72-7834-1346-9DDB-09BD41BEA245}"/>
          </ac:inkMkLst>
        </pc:inkChg>
        <pc:inkChg chg="add del mod">
          <ac:chgData name="Pascal Krömpel" userId="38dfee290712cc20" providerId="LiveId" clId="{D351F445-CC48-4C05-8290-1B2DC9EBFE71}" dt="2022-08-11T09:07:51.909" v="644" actId="9405"/>
          <ac:inkMkLst>
            <pc:docMk/>
            <pc:sldMk cId="4040526817" sldId="286"/>
            <ac:inkMk id="35" creationId="{B7461072-2E1C-C42A-DC76-F7A90779E1D1}"/>
          </ac:inkMkLst>
        </pc:inkChg>
        <pc:inkChg chg="add del mod">
          <ac:chgData name="Pascal Krömpel" userId="38dfee290712cc20" providerId="LiveId" clId="{D351F445-CC48-4C05-8290-1B2DC9EBFE71}" dt="2022-08-11T09:07:51.361" v="643"/>
          <ac:inkMkLst>
            <pc:docMk/>
            <pc:sldMk cId="4040526817" sldId="286"/>
            <ac:inkMk id="36" creationId="{B4021946-CD24-0C43-1F5D-3411698F32A9}"/>
          </ac:inkMkLst>
        </pc:inkChg>
        <pc:cxnChg chg="add mod">
          <ac:chgData name="Pascal Krömpel" userId="38dfee290712cc20" providerId="LiveId" clId="{D351F445-CC48-4C05-8290-1B2DC9EBFE71}" dt="2022-08-10T15:30:43.709" v="206" actId="1076"/>
          <ac:cxnSpMkLst>
            <pc:docMk/>
            <pc:sldMk cId="4040526817" sldId="286"/>
            <ac:cxnSpMk id="3" creationId="{C7FBDA14-E1F2-2AE9-B5EB-9928F8FFDA46}"/>
          </ac:cxnSpMkLst>
        </pc:cxnChg>
        <pc:cxnChg chg="add mod">
          <ac:chgData name="Pascal Krömpel" userId="38dfee290712cc20" providerId="LiveId" clId="{D351F445-CC48-4C05-8290-1B2DC9EBFE71}" dt="2022-08-10T15:31:05.230" v="235" actId="14100"/>
          <ac:cxnSpMkLst>
            <pc:docMk/>
            <pc:sldMk cId="4040526817" sldId="286"/>
            <ac:cxnSpMk id="6" creationId="{7007BCAB-7CD3-E7C9-73E9-E0CF4631D657}"/>
          </ac:cxnSpMkLst>
        </pc:cxnChg>
        <pc:cxnChg chg="add mod">
          <ac:chgData name="Pascal Krömpel" userId="38dfee290712cc20" providerId="LiveId" clId="{D351F445-CC48-4C05-8290-1B2DC9EBFE71}" dt="2022-08-10T15:36:11.392" v="377" actId="1076"/>
          <ac:cxnSpMkLst>
            <pc:docMk/>
            <pc:sldMk cId="4040526817" sldId="286"/>
            <ac:cxnSpMk id="10" creationId="{5C0EB6E6-CE8D-6FB8-9704-E4890DC92FE3}"/>
          </ac:cxnSpMkLst>
        </pc:cxnChg>
        <pc:cxnChg chg="add mod">
          <ac:chgData name="Pascal Krömpel" userId="38dfee290712cc20" providerId="LiveId" clId="{D351F445-CC48-4C05-8290-1B2DC9EBFE71}" dt="2022-08-10T15:31:31.956" v="240" actId="1076"/>
          <ac:cxnSpMkLst>
            <pc:docMk/>
            <pc:sldMk cId="4040526817" sldId="286"/>
            <ac:cxnSpMk id="11" creationId="{0C102246-04D1-9764-9EE3-F1BE56943783}"/>
          </ac:cxnSpMkLst>
        </pc:cxnChg>
        <pc:cxnChg chg="add del mod">
          <ac:chgData name="Pascal Krömpel" userId="38dfee290712cc20" providerId="LiveId" clId="{D351F445-CC48-4C05-8290-1B2DC9EBFE71}" dt="2022-08-10T15:42:30.342" v="459" actId="11529"/>
          <ac:cxnSpMkLst>
            <pc:docMk/>
            <pc:sldMk cId="4040526817" sldId="286"/>
            <ac:cxnSpMk id="33" creationId="{4C2EBC3B-21BD-F16A-95E7-CF495F1046E5}"/>
          </ac:cxnSpMkLst>
        </pc:cxnChg>
        <pc:cxnChg chg="add del mod">
          <ac:chgData name="Pascal Krömpel" userId="38dfee290712cc20" providerId="LiveId" clId="{D351F445-CC48-4C05-8290-1B2DC9EBFE71}" dt="2022-08-11T09:08:15.694" v="654" actId="478"/>
          <ac:cxnSpMkLst>
            <pc:docMk/>
            <pc:sldMk cId="4040526817" sldId="286"/>
            <ac:cxnSpMk id="39" creationId="{EA38F164-2DA4-149F-8D0A-34C946A09858}"/>
          </ac:cxnSpMkLst>
        </pc:cxnChg>
        <pc:cxnChg chg="add mod">
          <ac:chgData name="Pascal Krömpel" userId="38dfee290712cc20" providerId="LiveId" clId="{D351F445-CC48-4C05-8290-1B2DC9EBFE71}" dt="2022-08-10T15:43:18.219" v="492" actId="14100"/>
          <ac:cxnSpMkLst>
            <pc:docMk/>
            <pc:sldMk cId="4040526817" sldId="286"/>
            <ac:cxnSpMk id="42" creationId="{762B4709-275F-BE5D-A9F7-1D47D830810B}"/>
          </ac:cxnSpMkLst>
        </pc:cxnChg>
        <pc:cxnChg chg="add mod">
          <ac:chgData name="Pascal Krömpel" userId="38dfee290712cc20" providerId="LiveId" clId="{D351F445-CC48-4C05-8290-1B2DC9EBFE71}" dt="2022-08-10T15:43:52.080" v="512" actId="1076"/>
          <ac:cxnSpMkLst>
            <pc:docMk/>
            <pc:sldMk cId="4040526817" sldId="286"/>
            <ac:cxnSpMk id="44" creationId="{D7EA81D1-477B-53A9-6E48-816437CDB89B}"/>
          </ac:cxnSpMkLst>
        </pc:cxnChg>
        <pc:cxnChg chg="add mod">
          <ac:chgData name="Pascal Krömpel" userId="38dfee290712cc20" providerId="LiveId" clId="{D351F445-CC48-4C05-8290-1B2DC9EBFE71}" dt="2022-08-11T09:08:50.855" v="667" actId="14100"/>
          <ac:cxnSpMkLst>
            <pc:docMk/>
            <pc:sldMk cId="4040526817" sldId="286"/>
            <ac:cxnSpMk id="46" creationId="{0E35D65C-8482-5783-48BD-2A6C23C80C13}"/>
          </ac:cxnSpMkLst>
        </pc:cxnChg>
        <pc:cxnChg chg="add del mod">
          <ac:chgData name="Pascal Krömpel" userId="38dfee290712cc20" providerId="LiveId" clId="{D351F445-CC48-4C05-8290-1B2DC9EBFE71}" dt="2022-08-10T15:47:04.772" v="551" actId="478"/>
          <ac:cxnSpMkLst>
            <pc:docMk/>
            <pc:sldMk cId="4040526817" sldId="286"/>
            <ac:cxnSpMk id="47" creationId="{AB2EB0AC-F40E-0E25-547A-0750BB03F20F}"/>
          </ac:cxnSpMkLst>
        </pc:cxnChg>
        <pc:cxnChg chg="add mod">
          <ac:chgData name="Pascal Krömpel" userId="38dfee290712cc20" providerId="LiveId" clId="{D351F445-CC48-4C05-8290-1B2DC9EBFE71}" dt="2022-08-11T09:09:14.949" v="679" actId="1076"/>
          <ac:cxnSpMkLst>
            <pc:docMk/>
            <pc:sldMk cId="4040526817" sldId="286"/>
            <ac:cxnSpMk id="53" creationId="{1D2C5B6F-B88F-E374-2DE3-4CB6E7F7E9E9}"/>
          </ac:cxnSpMkLst>
        </pc:cxnChg>
        <pc:cxnChg chg="add mod">
          <ac:chgData name="Pascal Krömpel" userId="38dfee290712cc20" providerId="LiveId" clId="{D351F445-CC48-4C05-8290-1B2DC9EBFE71}" dt="2022-08-11T09:09:13.427" v="678" actId="1076"/>
          <ac:cxnSpMkLst>
            <pc:docMk/>
            <pc:sldMk cId="4040526817" sldId="286"/>
            <ac:cxnSpMk id="54" creationId="{C375B9F4-E827-08AD-196F-3495A438D62F}"/>
          </ac:cxnSpMkLst>
        </pc:cxnChg>
        <pc:cxnChg chg="add mod">
          <ac:chgData name="Pascal Krömpel" userId="38dfee290712cc20" providerId="LiveId" clId="{D351F445-CC48-4C05-8290-1B2DC9EBFE71}" dt="2022-08-11T09:09:24.669" v="683" actId="14100"/>
          <ac:cxnSpMkLst>
            <pc:docMk/>
            <pc:sldMk cId="4040526817" sldId="286"/>
            <ac:cxnSpMk id="57" creationId="{3500A918-C210-1A6A-9C45-4BCF8C034E0A}"/>
          </ac:cxnSpMkLst>
        </pc:cxnChg>
        <pc:cxnChg chg="add mod">
          <ac:chgData name="Pascal Krömpel" userId="38dfee290712cc20" providerId="LiveId" clId="{D351F445-CC48-4C05-8290-1B2DC9EBFE71}" dt="2022-08-11T09:09:32.190" v="687" actId="14100"/>
          <ac:cxnSpMkLst>
            <pc:docMk/>
            <pc:sldMk cId="4040526817" sldId="286"/>
            <ac:cxnSpMk id="59" creationId="{9B2810A0-73F8-6CEF-0989-CF30558112AA}"/>
          </ac:cxnSpMkLst>
        </pc:cxnChg>
        <pc:cxnChg chg="add mod">
          <ac:chgData name="Pascal Krömpel" userId="38dfee290712cc20" providerId="LiveId" clId="{D351F445-CC48-4C05-8290-1B2DC9EBFE71}" dt="2022-08-11T09:10:19.017" v="706" actId="14100"/>
          <ac:cxnSpMkLst>
            <pc:docMk/>
            <pc:sldMk cId="4040526817" sldId="286"/>
            <ac:cxnSpMk id="62" creationId="{5A937602-2808-8A36-A2B0-3BDE43AB551A}"/>
          </ac:cxnSpMkLst>
        </pc:cxnChg>
        <pc:cxnChg chg="add mod">
          <ac:chgData name="Pascal Krömpel" userId="38dfee290712cc20" providerId="LiveId" clId="{D351F445-CC48-4C05-8290-1B2DC9EBFE71}" dt="2022-08-11T09:11:29.250" v="723" actId="1076"/>
          <ac:cxnSpMkLst>
            <pc:docMk/>
            <pc:sldMk cId="4040526817" sldId="286"/>
            <ac:cxnSpMk id="71" creationId="{49CBB930-81A7-0018-01BF-528FD2ACBC01}"/>
          </ac:cxnSpMkLst>
        </pc:cxnChg>
        <pc:cxnChg chg="add mod">
          <ac:chgData name="Pascal Krömpel" userId="38dfee290712cc20" providerId="LiveId" clId="{D351F445-CC48-4C05-8290-1B2DC9EBFE71}" dt="2022-08-11T09:11:59.779" v="737" actId="1076"/>
          <ac:cxnSpMkLst>
            <pc:docMk/>
            <pc:sldMk cId="4040526817" sldId="286"/>
            <ac:cxnSpMk id="74" creationId="{AA9BDE16-25BF-7822-A972-46F443F65473}"/>
          </ac:cxnSpMkLst>
        </pc:cxnChg>
        <pc:cxnChg chg="add mod">
          <ac:chgData name="Pascal Krömpel" userId="38dfee290712cc20" providerId="LiveId" clId="{D351F445-CC48-4C05-8290-1B2DC9EBFE71}" dt="2022-08-11T09:12:22.161" v="745" actId="14100"/>
          <ac:cxnSpMkLst>
            <pc:docMk/>
            <pc:sldMk cId="4040526817" sldId="286"/>
            <ac:cxnSpMk id="78" creationId="{EF2466BB-FE3E-0B65-02AA-58CA20D83B8F}"/>
          </ac:cxnSpMkLst>
        </pc:cxnChg>
        <pc:cxnChg chg="add mod">
          <ac:chgData name="Pascal Krömpel" userId="38dfee290712cc20" providerId="LiveId" clId="{D351F445-CC48-4C05-8290-1B2DC9EBFE71}" dt="2022-08-11T09:12:50.572" v="757" actId="14100"/>
          <ac:cxnSpMkLst>
            <pc:docMk/>
            <pc:sldMk cId="4040526817" sldId="286"/>
            <ac:cxnSpMk id="81" creationId="{E1F70D32-C9D7-5358-FE8A-9D8671ED5203}"/>
          </ac:cxnSpMkLst>
        </pc:cxnChg>
        <pc:cxnChg chg="add mod">
          <ac:chgData name="Pascal Krömpel" userId="38dfee290712cc20" providerId="LiveId" clId="{D351F445-CC48-4C05-8290-1B2DC9EBFE71}" dt="2022-08-11T09:12:57.003" v="760" actId="14100"/>
          <ac:cxnSpMkLst>
            <pc:docMk/>
            <pc:sldMk cId="4040526817" sldId="286"/>
            <ac:cxnSpMk id="85" creationId="{624CD6E6-26B2-AE37-3AF6-DDD45C61B102}"/>
          </ac:cxnSpMkLst>
        </pc:cxnChg>
        <pc:cxnChg chg="add mod">
          <ac:chgData name="Pascal Krömpel" userId="38dfee290712cc20" providerId="LiveId" clId="{D351F445-CC48-4C05-8290-1B2DC9EBFE71}" dt="2022-08-11T09:13:40.905" v="776" actId="1076"/>
          <ac:cxnSpMkLst>
            <pc:docMk/>
            <pc:sldMk cId="4040526817" sldId="286"/>
            <ac:cxnSpMk id="88" creationId="{03323B73-F5FB-D741-C150-828A09611986}"/>
          </ac:cxnSpMkLst>
        </pc:cxnChg>
        <pc:cxnChg chg="add mod">
          <ac:chgData name="Pascal Krömpel" userId="38dfee290712cc20" providerId="LiveId" clId="{D351F445-CC48-4C05-8290-1B2DC9EBFE71}" dt="2022-08-11T09:14:44.094" v="842" actId="1076"/>
          <ac:cxnSpMkLst>
            <pc:docMk/>
            <pc:sldMk cId="4040526817" sldId="286"/>
            <ac:cxnSpMk id="93" creationId="{CA8BB881-AA9E-3294-32CB-E9760189593C}"/>
          </ac:cxnSpMkLst>
        </pc:cxnChg>
        <pc:cxnChg chg="add mod">
          <ac:chgData name="Pascal Krömpel" userId="38dfee290712cc20" providerId="LiveId" clId="{D351F445-CC48-4C05-8290-1B2DC9EBFE71}" dt="2022-08-11T09:15:08.814" v="867" actId="1076"/>
          <ac:cxnSpMkLst>
            <pc:docMk/>
            <pc:sldMk cId="4040526817" sldId="286"/>
            <ac:cxnSpMk id="94" creationId="{1C512FEC-427C-C3C6-805D-C8934699E8D1}"/>
          </ac:cxnSpMkLst>
        </pc:cxnChg>
      </pc:sldChg>
      <pc:sldChg chg="addSp delSp modSp new mod">
        <pc:chgData name="Pascal Krömpel" userId="38dfee290712cc20" providerId="LiveId" clId="{D351F445-CC48-4C05-8290-1B2DC9EBFE71}" dt="2022-08-11T11:18:28.010" v="1613" actId="1076"/>
        <pc:sldMkLst>
          <pc:docMk/>
          <pc:sldMk cId="1462216661" sldId="287"/>
        </pc:sldMkLst>
        <pc:spChg chg="del">
          <ac:chgData name="Pascal Krömpel" userId="38dfee290712cc20" providerId="LiveId" clId="{D351F445-CC48-4C05-8290-1B2DC9EBFE71}" dt="2022-08-11T10:27:59.445" v="922" actId="478"/>
          <ac:spMkLst>
            <pc:docMk/>
            <pc:sldMk cId="1462216661" sldId="287"/>
            <ac:spMk id="2" creationId="{730B355E-3865-82B1-E711-A539CD9B8935}"/>
          </ac:spMkLst>
        </pc:spChg>
        <pc:spChg chg="del">
          <ac:chgData name="Pascal Krömpel" userId="38dfee290712cc20" providerId="LiveId" clId="{D351F445-CC48-4C05-8290-1B2DC9EBFE71}" dt="2022-08-11T10:28:00.283" v="923" actId="478"/>
          <ac:spMkLst>
            <pc:docMk/>
            <pc:sldMk cId="1462216661" sldId="287"/>
            <ac:spMk id="3" creationId="{4E08D4E5-9565-DB72-C434-19551C9D0D3D}"/>
          </ac:spMkLst>
        </pc:spChg>
        <pc:spChg chg="add mod">
          <ac:chgData name="Pascal Krömpel" userId="38dfee290712cc20" providerId="LiveId" clId="{D351F445-CC48-4C05-8290-1B2DC9EBFE71}" dt="2022-08-11T11:11:31.377" v="1471" actId="1076"/>
          <ac:spMkLst>
            <pc:docMk/>
            <pc:sldMk cId="1462216661" sldId="287"/>
            <ac:spMk id="11" creationId="{172C1E7E-E809-3F9E-5D41-4E69B3655D20}"/>
          </ac:spMkLst>
        </pc:spChg>
        <pc:spChg chg="add mod">
          <ac:chgData name="Pascal Krömpel" userId="38dfee290712cc20" providerId="LiveId" clId="{D351F445-CC48-4C05-8290-1B2DC9EBFE71}" dt="2022-08-11T11:06:26.100" v="1347" actId="1076"/>
          <ac:spMkLst>
            <pc:docMk/>
            <pc:sldMk cId="1462216661" sldId="287"/>
            <ac:spMk id="12" creationId="{11A94002-A361-0AF5-B625-8811337472DE}"/>
          </ac:spMkLst>
        </pc:spChg>
        <pc:spChg chg="add mod">
          <ac:chgData name="Pascal Krömpel" userId="38dfee290712cc20" providerId="LiveId" clId="{D351F445-CC48-4C05-8290-1B2DC9EBFE71}" dt="2022-08-11T11:11:31.377" v="1471" actId="1076"/>
          <ac:spMkLst>
            <pc:docMk/>
            <pc:sldMk cId="1462216661" sldId="287"/>
            <ac:spMk id="13" creationId="{5CE9BD1A-252B-1ED5-A3E8-853A8D7F1721}"/>
          </ac:spMkLst>
        </pc:spChg>
        <pc:spChg chg="add mod">
          <ac:chgData name="Pascal Krömpel" userId="38dfee290712cc20" providerId="LiveId" clId="{D351F445-CC48-4C05-8290-1B2DC9EBFE71}" dt="2022-08-11T11:06:59.412" v="1368" actId="1076"/>
          <ac:spMkLst>
            <pc:docMk/>
            <pc:sldMk cId="1462216661" sldId="287"/>
            <ac:spMk id="14" creationId="{89DDBD89-4DE5-371E-7BC8-FB4AE85ADC49}"/>
          </ac:spMkLst>
        </pc:spChg>
        <pc:spChg chg="add mod">
          <ac:chgData name="Pascal Krömpel" userId="38dfee290712cc20" providerId="LiveId" clId="{D351F445-CC48-4C05-8290-1B2DC9EBFE71}" dt="2022-08-11T11:11:47.261" v="1493" actId="1076"/>
          <ac:spMkLst>
            <pc:docMk/>
            <pc:sldMk cId="1462216661" sldId="287"/>
            <ac:spMk id="20" creationId="{FA06370A-DFAD-7A23-917F-1BC557D3DEEF}"/>
          </ac:spMkLst>
        </pc:spChg>
        <pc:spChg chg="add mod">
          <ac:chgData name="Pascal Krömpel" userId="38dfee290712cc20" providerId="LiveId" clId="{D351F445-CC48-4C05-8290-1B2DC9EBFE71}" dt="2022-08-11T11:14:49.098" v="1520" actId="113"/>
          <ac:spMkLst>
            <pc:docMk/>
            <pc:sldMk cId="1462216661" sldId="287"/>
            <ac:spMk id="21" creationId="{CACD7CCB-E87C-BD13-BEDA-9DA4EFF59D69}"/>
          </ac:spMkLst>
        </pc:spChg>
        <pc:spChg chg="add mod">
          <ac:chgData name="Pascal Krömpel" userId="38dfee290712cc20" providerId="LiveId" clId="{D351F445-CC48-4C05-8290-1B2DC9EBFE71}" dt="2022-08-11T11:15:31.194" v="1548" actId="20577"/>
          <ac:spMkLst>
            <pc:docMk/>
            <pc:sldMk cId="1462216661" sldId="287"/>
            <ac:spMk id="22" creationId="{4A17251A-70AB-4B40-2927-C1184EBFA95A}"/>
          </ac:spMkLst>
        </pc:spChg>
        <pc:spChg chg="add del mod">
          <ac:chgData name="Pascal Krömpel" userId="38dfee290712cc20" providerId="LiveId" clId="{D351F445-CC48-4C05-8290-1B2DC9EBFE71}" dt="2022-08-11T11:15:36.075" v="1550"/>
          <ac:spMkLst>
            <pc:docMk/>
            <pc:sldMk cId="1462216661" sldId="287"/>
            <ac:spMk id="23" creationId="{F5329248-7545-B608-5E32-FD2C6C60ED8C}"/>
          </ac:spMkLst>
        </pc:spChg>
        <pc:spChg chg="add mod">
          <ac:chgData name="Pascal Krömpel" userId="38dfee290712cc20" providerId="LiveId" clId="{D351F445-CC48-4C05-8290-1B2DC9EBFE71}" dt="2022-08-11T11:15:51.930" v="1554" actId="20577"/>
          <ac:spMkLst>
            <pc:docMk/>
            <pc:sldMk cId="1462216661" sldId="287"/>
            <ac:spMk id="24" creationId="{0E73D7B9-8082-F461-B7C5-39639E069627}"/>
          </ac:spMkLst>
        </pc:spChg>
        <pc:spChg chg="add mod">
          <ac:chgData name="Pascal Krömpel" userId="38dfee290712cc20" providerId="LiveId" clId="{D351F445-CC48-4C05-8290-1B2DC9EBFE71}" dt="2022-08-11T11:16:29.926" v="1592" actId="1076"/>
          <ac:spMkLst>
            <pc:docMk/>
            <pc:sldMk cId="1462216661" sldId="287"/>
            <ac:spMk id="25" creationId="{2BAB91A8-8A49-94F8-A8E9-A18964CB04FE}"/>
          </ac:spMkLst>
        </pc:spChg>
        <pc:spChg chg="add mod">
          <ac:chgData name="Pascal Krömpel" userId="38dfee290712cc20" providerId="LiveId" clId="{D351F445-CC48-4C05-8290-1B2DC9EBFE71}" dt="2022-08-11T11:18:28.010" v="1613" actId="1076"/>
          <ac:spMkLst>
            <pc:docMk/>
            <pc:sldMk cId="1462216661" sldId="287"/>
            <ac:spMk id="26" creationId="{239301DB-48EB-0CF5-25E9-87D879405786}"/>
          </ac:spMkLst>
        </pc:spChg>
        <pc:graphicFrameChg chg="add mod modGraphic">
          <ac:chgData name="Pascal Krömpel" userId="38dfee290712cc20" providerId="LiveId" clId="{D351F445-CC48-4C05-8290-1B2DC9EBFE71}" dt="2022-08-11T11:07:18.656" v="1372" actId="20577"/>
          <ac:graphicFrameMkLst>
            <pc:docMk/>
            <pc:sldMk cId="1462216661" sldId="287"/>
            <ac:graphicFrameMk id="4" creationId="{892629E6-AC22-5D9A-9C6F-A4502B16DE8F}"/>
          </ac:graphicFrameMkLst>
        </pc:graphicFrameChg>
        <pc:graphicFrameChg chg="add mod modGraphic">
          <ac:chgData name="Pascal Krömpel" userId="38dfee290712cc20" providerId="LiveId" clId="{D351F445-CC48-4C05-8290-1B2DC9EBFE71}" dt="2022-08-11T11:11:31.377" v="1471" actId="1076"/>
          <ac:graphicFrameMkLst>
            <pc:docMk/>
            <pc:sldMk cId="1462216661" sldId="287"/>
            <ac:graphicFrameMk id="5" creationId="{C9F60E78-FB0F-E1BE-5AB5-D5A4874B7468}"/>
          </ac:graphicFrameMkLst>
        </pc:graphicFrameChg>
        <pc:graphicFrameChg chg="add mod modGraphic">
          <ac:chgData name="Pascal Krömpel" userId="38dfee290712cc20" providerId="LiveId" clId="{D351F445-CC48-4C05-8290-1B2DC9EBFE71}" dt="2022-08-11T11:00:03.091" v="1269" actId="20577"/>
          <ac:graphicFrameMkLst>
            <pc:docMk/>
            <pc:sldMk cId="1462216661" sldId="287"/>
            <ac:graphicFrameMk id="6" creationId="{224DB861-318D-E9D7-C989-E2F8C8D4A90F}"/>
          </ac:graphicFrameMkLst>
        </pc:graphicFrameChg>
        <pc:graphicFrameChg chg="add mod modGraphic">
          <ac:chgData name="Pascal Krömpel" userId="38dfee290712cc20" providerId="LiveId" clId="{D351F445-CC48-4C05-8290-1B2DC9EBFE71}" dt="2022-08-11T11:02:42.723" v="1285" actId="20577"/>
          <ac:graphicFrameMkLst>
            <pc:docMk/>
            <pc:sldMk cId="1462216661" sldId="287"/>
            <ac:graphicFrameMk id="7" creationId="{92713EF4-5D4E-8083-75E3-81B2B93CA961}"/>
          </ac:graphicFrameMkLst>
        </pc:graphicFrameChg>
        <pc:graphicFrameChg chg="add mod">
          <ac:chgData name="Pascal Krömpel" userId="38dfee290712cc20" providerId="LiveId" clId="{D351F445-CC48-4C05-8290-1B2DC9EBFE71}" dt="2022-08-11T11:11:31.377" v="1471" actId="1076"/>
          <ac:graphicFrameMkLst>
            <pc:docMk/>
            <pc:sldMk cId="1462216661" sldId="287"/>
            <ac:graphicFrameMk id="8" creationId="{7241F26F-861F-73D9-C378-F640356C801A}"/>
          </ac:graphicFrameMkLst>
        </pc:graphicFrameChg>
        <pc:graphicFrameChg chg="add mod">
          <ac:chgData name="Pascal Krömpel" userId="38dfee290712cc20" providerId="LiveId" clId="{D351F445-CC48-4C05-8290-1B2DC9EBFE71}" dt="2022-08-11T11:11:31.377" v="1471" actId="1076"/>
          <ac:graphicFrameMkLst>
            <pc:docMk/>
            <pc:sldMk cId="1462216661" sldId="287"/>
            <ac:graphicFrameMk id="9" creationId="{A4747C98-E1D0-A243-F9D2-7E41892AA75D}"/>
          </ac:graphicFrameMkLst>
        </pc:graphicFrameChg>
        <pc:graphicFrameChg chg="add mod modGraphic">
          <ac:chgData name="Pascal Krömpel" userId="38dfee290712cc20" providerId="LiveId" clId="{D351F445-CC48-4C05-8290-1B2DC9EBFE71}" dt="2022-08-11T11:11:31.377" v="1471" actId="1076"/>
          <ac:graphicFrameMkLst>
            <pc:docMk/>
            <pc:sldMk cId="1462216661" sldId="287"/>
            <ac:graphicFrameMk id="10" creationId="{1E717A4A-252B-0EC4-EFD3-8E899D76A0C3}"/>
          </ac:graphicFrameMkLst>
        </pc:graphicFrameChg>
        <pc:graphicFrameChg chg="add mod modGraphic">
          <ac:chgData name="Pascal Krömpel" userId="38dfee290712cc20" providerId="LiveId" clId="{D351F445-CC48-4C05-8290-1B2DC9EBFE71}" dt="2022-08-11T11:09:04.938" v="1383"/>
          <ac:graphicFrameMkLst>
            <pc:docMk/>
            <pc:sldMk cId="1462216661" sldId="287"/>
            <ac:graphicFrameMk id="15" creationId="{262AB5A0-0DB3-A6B7-C2B2-6BB66229BB88}"/>
          </ac:graphicFrameMkLst>
        </pc:graphicFrameChg>
        <pc:cxnChg chg="add mod">
          <ac:chgData name="Pascal Krömpel" userId="38dfee290712cc20" providerId="LiveId" clId="{D351F445-CC48-4C05-8290-1B2DC9EBFE71}" dt="2022-08-11T11:10:05.219" v="1409" actId="692"/>
          <ac:cxnSpMkLst>
            <pc:docMk/>
            <pc:sldMk cId="1462216661" sldId="287"/>
            <ac:cxnSpMk id="17" creationId="{4283F1A1-192D-5D22-978B-6228F1C8533A}"/>
          </ac:cxnSpMkLst>
        </pc:cxnChg>
        <pc:cxnChg chg="add mod">
          <ac:chgData name="Pascal Krömpel" userId="38dfee290712cc20" providerId="LiveId" clId="{D351F445-CC48-4C05-8290-1B2DC9EBFE71}" dt="2022-08-11T11:11:31.377" v="1471" actId="1076"/>
          <ac:cxnSpMkLst>
            <pc:docMk/>
            <pc:sldMk cId="1462216661" sldId="287"/>
            <ac:cxnSpMk id="18" creationId="{82384012-3FF3-721D-9A84-2F387D8A15C8}"/>
          </ac:cxnSpMkLst>
        </pc:cxnChg>
        <pc:cxnChg chg="add mod">
          <ac:chgData name="Pascal Krömpel" userId="38dfee290712cc20" providerId="LiveId" clId="{D351F445-CC48-4C05-8290-1B2DC9EBFE71}" dt="2022-08-11T11:10:57.823" v="1467" actId="692"/>
          <ac:cxnSpMkLst>
            <pc:docMk/>
            <pc:sldMk cId="1462216661" sldId="287"/>
            <ac:cxnSpMk id="19" creationId="{2A53E5DA-AE8C-817C-3AED-E760FADCC56C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71772E-836F-47FC-88FC-828114D05BE0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00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D387C4-F999-4D3C-9D03-8D7B6663BC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6650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0993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77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712" y="1122363"/>
            <a:ext cx="841740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7853" y="3602038"/>
            <a:ext cx="7427119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071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7202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6710" y="365125"/>
            <a:ext cx="2135297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0820" y="365125"/>
            <a:ext cx="628210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544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i Siegen Allgemein: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141" y="1268760"/>
            <a:ext cx="8912543" cy="48574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fld id="{E932ABC5-331D-7442-85FC-7912CFFB3B35}" type="datetime1">
              <a:rPr lang="de-DE" smtClean="0"/>
              <a:t>06.09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fld id="{B0C1EC9D-98B2-495A-A489-C9146225390B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3043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0769" y="866593"/>
            <a:ext cx="6309877" cy="1400175"/>
          </a:xfrm>
        </p:spPr>
        <p:txBody>
          <a:bodyPr rIns="468000" bIns="72000"/>
          <a:lstStyle>
            <a:lvl1pPr>
              <a:defRPr sz="2599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0769" y="2393768"/>
            <a:ext cx="6309877" cy="332758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0769" y="2325504"/>
            <a:ext cx="6309877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18" y="773113"/>
            <a:ext cx="946322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18" y="5930900"/>
            <a:ext cx="946322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4F48EFF-0181-496A-967A-C23561032B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944" y="6030001"/>
            <a:ext cx="1677029" cy="5889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49EC3F5-9328-4AAA-990F-4C090D21A4D5}"/>
              </a:ext>
            </a:extLst>
          </p:cNvPr>
          <p:cNvSpPr txBox="1"/>
          <p:nvPr userDrawn="1"/>
        </p:nvSpPr>
        <p:spPr>
          <a:xfrm>
            <a:off x="217418" y="5991226"/>
            <a:ext cx="1624093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788608F-663B-401A-A06B-40FC60A653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143" y="6030001"/>
            <a:ext cx="2068668" cy="588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374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70769" y="863600"/>
            <a:ext cx="6309877" cy="4857750"/>
          </a:xfrm>
          <a:prstGeom prst="rect">
            <a:avLst/>
          </a:prstGeom>
        </p:spPr>
        <p:txBody>
          <a:bodyPr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1068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0769" y="863600"/>
            <a:ext cx="3078763" cy="4857750"/>
          </a:xfrm>
          <a:prstGeom prst="rect">
            <a:avLst/>
          </a:prstGeom>
        </p:spPr>
        <p:txBody>
          <a:bodyPr/>
          <a:lstStyle>
            <a:lvl1pPr marL="228531" indent="-228531">
              <a:defRPr sz="1799"/>
            </a:lvl1pPr>
            <a:lvl2pPr marL="457063" indent="-228531">
              <a:defRPr sz="1600"/>
            </a:lvl2pPr>
            <a:lvl3pPr marL="685594" indent="-228531">
              <a:defRPr sz="1600"/>
            </a:lvl3pPr>
            <a:lvl4pPr marL="914126" indent="-228531">
              <a:defRPr sz="1600"/>
            </a:lvl4pPr>
            <a:lvl5pPr marL="1142657" indent="-228531">
              <a:defRPr sz="1600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1883" y="863600"/>
            <a:ext cx="3078763" cy="4857750"/>
          </a:xfrm>
          <a:prstGeom prst="rect">
            <a:avLst/>
          </a:prstGeom>
        </p:spPr>
        <p:txBody>
          <a:bodyPr/>
          <a:lstStyle>
            <a:lvl1pPr marL="228531" indent="-228531">
              <a:defRPr sz="1799"/>
            </a:lvl1pPr>
            <a:lvl2pPr marL="457063" indent="-228531">
              <a:defRPr sz="1600"/>
            </a:lvl2pPr>
            <a:lvl3pPr marL="685594" indent="-228531">
              <a:defRPr sz="1600"/>
            </a:lvl3pPr>
            <a:lvl4pPr marL="914126" indent="-228531">
              <a:defRPr sz="1600"/>
            </a:lvl4pPr>
            <a:lvl5pPr marL="1142657" indent="-228531">
              <a:defRPr sz="1600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43732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4463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282556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518390E-CE4D-4989-8565-F69BB1957E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863600"/>
            <a:ext cx="9464815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91377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F8850B1F-110D-4C2E-A4C1-75D55D04667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2357" y="863600"/>
            <a:ext cx="6309877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9964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6293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C8C8B2CB-DE58-4F1A-A814-4BF421DD2E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7296" y="863600"/>
            <a:ext cx="315493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23675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EE7BCAF-2A55-4CBE-8F40-7A023A4AE2B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8" y="863600"/>
            <a:ext cx="6309877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29627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2952107D-EAAC-46E1-8197-F68CFCBEFBD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863600"/>
            <a:ext cx="315493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51224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D249C49-63D8-4C0D-A919-AB1EDD4408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863601"/>
            <a:ext cx="9464815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892135-1BF3-4F82-9B6B-FA346C1F047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17419" y="3292476"/>
            <a:ext cx="9464815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7690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74B8DE2-FB1C-49BC-B908-E3C7A803B27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17419" y="863600"/>
            <a:ext cx="473240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DB551143-AC5D-4D41-9929-5AAA8FA578B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9826" y="863600"/>
            <a:ext cx="473240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1056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BD925CD-3AE8-4BA5-8B6E-A0D1A18D7D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3292476"/>
            <a:ext cx="4732408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D533C6C-013F-4536-99AD-BC90A82B1F6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949826" y="3292476"/>
            <a:ext cx="4732408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58026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BD372C7-1BA2-449C-93A5-931294202C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1116013"/>
            <a:ext cx="9464815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7BC792-D70A-46A5-80F4-41C2BCE42D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D3EA1AD-16A2-4971-BF60-604A8AE889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16954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1BB67CC-C1C3-47C7-AA93-A924CBE45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2357" y="1116013"/>
            <a:ext cx="6309877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46F4E-F450-49C1-8833-7E76F17B2C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24D8CB5-E0DE-4AAB-9786-F309AABB4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6213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7C664FF-6BB9-422B-BF30-C9EBDC8FE0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7296" y="1116013"/>
            <a:ext cx="315493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C687CF-85E0-4FE6-ABB8-B901335A3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2846159-45D4-4A49-BC71-CA93D156A4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89062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8112094-FC3E-4C3C-A5B9-8D64068800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831" y="1116013"/>
            <a:ext cx="6309877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88D480-6A3B-4C19-881D-260FD36060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168B09D-076C-4FCA-8689-D5DB21CFA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62786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662" y="1709740"/>
            <a:ext cx="8541187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662" y="4589465"/>
            <a:ext cx="8541187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2737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416E477-9272-46A7-AFF6-063BE72B8C3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831" y="1116013"/>
            <a:ext cx="315493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9F59B1-733C-4613-B956-8B82E69AC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FE49E52-168B-4C0E-BA9E-31312388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54317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13B62F76-3877-4E62-97DA-8BD44D0C65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831" y="1116014"/>
            <a:ext cx="9464815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93B5BD52-9165-43BB-8BC1-8CC2AD31526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831" y="3419476"/>
            <a:ext cx="9464815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E716D74-8498-4A4A-8EC2-8310014766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AF810CA-667A-4EEA-B93E-324C7894B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35327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6F7881D-D445-4B0F-A123-8ED1AA32002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831" y="1116013"/>
            <a:ext cx="473240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2169E0B-61C3-4463-AE88-5AD37DBC8D8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8239" y="1116013"/>
            <a:ext cx="473240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0D84201-251F-4722-A06C-F8939D3B4F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1988C-F5DD-4A23-91CB-90374FE1A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68462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6111FD3-A2CF-4891-95A5-10074D5815E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831" y="3419476"/>
            <a:ext cx="4732408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73A96B8-7DEC-453A-B096-D1AE094CD52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8239" y="3419476"/>
            <a:ext cx="4732408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CA63D5F-6006-4C4E-A61B-1808EC0A45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68A3D5-2F71-449C-B18C-D8CEE3EC79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9457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0819" y="1825625"/>
            <a:ext cx="4208701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3305" y="1825625"/>
            <a:ext cx="4208701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7711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109" y="365127"/>
            <a:ext cx="8541187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110" y="1681163"/>
            <a:ext cx="418935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110" y="2505075"/>
            <a:ext cx="418935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3306" y="1681163"/>
            <a:ext cx="420999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3306" y="2505075"/>
            <a:ext cx="420999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51948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389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4437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109" y="457200"/>
            <a:ext cx="319391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9991" y="987427"/>
            <a:ext cx="5013305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109" y="2057400"/>
            <a:ext cx="319391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9391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109" y="457200"/>
            <a:ext cx="319391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09991" y="987427"/>
            <a:ext cx="5013305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109" y="2057400"/>
            <a:ext cx="319391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1627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2.xml"/><Relationship Id="rId27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0819" y="365127"/>
            <a:ext cx="854118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0819" y="1825625"/>
            <a:ext cx="854118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0819" y="6356352"/>
            <a:ext cx="2228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FC7FB3-31CE-4C8B-918B-CB6D23F056B8}" type="datetimeFigureOut">
              <a:rPr lang="de-DE" smtClean="0"/>
              <a:t>06.09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0311" y="6356352"/>
            <a:ext cx="3342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3870" y="6356352"/>
            <a:ext cx="2228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31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584162458"/>
              </p:ext>
            </p:extLst>
          </p:nvPr>
        </p:nvGraphicFramePr>
        <p:xfrm>
          <a:off x="1588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592" imgH="595" progId="TCLayout.ActiveDocument.1">
                  <p:embed/>
                </p:oleObj>
              </mc:Choice>
              <mc:Fallback>
                <p:oleObj name="think-cell Folie" r:id="rId24" imgW="592" imgH="59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19" y="0"/>
            <a:ext cx="9464815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18" y="773113"/>
            <a:ext cx="946322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832" y="5930900"/>
            <a:ext cx="9461641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58684" y="5991226"/>
            <a:ext cx="132196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5988" tIns="35988" rIns="35988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45270B-208F-47BC-8B8A-90BE19D71ABF}"/>
              </a:ext>
            </a:extLst>
          </p:cNvPr>
          <p:cNvSpPr txBox="1"/>
          <p:nvPr userDrawn="1"/>
        </p:nvSpPr>
        <p:spPr>
          <a:xfrm>
            <a:off x="217418" y="5991226"/>
            <a:ext cx="1624093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D96EC8-F3FA-4717-AF5A-083F6C591B26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944" y="6030001"/>
            <a:ext cx="1677029" cy="5889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675926-7136-450E-8074-AF682297AF52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143" y="6030001"/>
            <a:ext cx="2068668" cy="58896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558F35-F6A7-4594-BF4E-6ACC1256F1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0769" y="863601"/>
            <a:ext cx="6309877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037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</p:sldLayoutIdLst>
  <p:txStyles>
    <p:titleStyle>
      <a:lvl1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2pPr>
      <a:lvl3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3pPr>
      <a:lvl4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4pPr>
      <a:lvl5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5pPr>
      <a:lvl6pPr marL="457063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6pPr>
      <a:lvl7pPr marL="914126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7pPr>
      <a:lvl8pPr marL="1371189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8pPr>
      <a:lvl9pPr marL="1828251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9pPr>
    </p:titleStyle>
    <p:bodyStyle>
      <a:lvl1pPr marL="228531" indent="-228531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620" algn="l"/>
          <a:tab pos="631635" algn="l"/>
          <a:tab pos="980781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063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2pPr>
      <a:lvl3pPr marL="685594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3pPr>
      <a:lvl4pPr marL="914126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4pPr>
      <a:lvl5pPr marL="1142657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5pPr>
      <a:lvl6pPr marL="2250400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6pPr>
      <a:lvl7pPr marL="2707463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7pPr>
      <a:lvl8pPr marL="3164525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8pPr>
      <a:lvl9pPr marL="3621588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file:///C:\Users\pasca\Downloads\epsilon%20(2).svg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file:///C:\Users\pasca\Downloads\Average%20MHC.svg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file:///C:\Users\pasca\Downloads\Average%20L&#228;rmpunktzahl.sv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pasca\OneDrive\Desktop\Uni\Masterarbeit\Bilder\Matlab-Bild.emf" TargetMode="External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file:///C:\Users\pasca\Downloads\Average%20Reward.sv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file:///C:\Users\pasca\Downloads\Average%20R&#252;ckl&#228;ufe.svg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file:///C:\Users\pasca\Downloads\Average%20MHC%20(1).svg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file:///C:\Users\pasca\Downloads\Average%20L&#228;rmpunktzahl%20(1).svg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7" Type="http://schemas.openxmlformats.org/officeDocument/2006/relationships/image" Target="file:///C:\Users\pasca\Downloads\Average%20Reward%20(2).svg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file:///C:\Users\pasca\Downloads\Average%20R&#252;ckl&#228;ufe%20(1).svg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6D81D46-1DEE-4F04-A45E-BD02B8CE10FC}"/>
              </a:ext>
            </a:extLst>
          </p:cNvPr>
          <p:cNvSpPr/>
          <p:nvPr/>
        </p:nvSpPr>
        <p:spPr>
          <a:xfrm>
            <a:off x="4086116" y="1091957"/>
            <a:ext cx="1730591" cy="108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gent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53D02355-B470-4395-935A-ED5621F87682}"/>
              </a:ext>
            </a:extLst>
          </p:cNvPr>
          <p:cNvCxnSpPr>
            <a:cxnSpLocks/>
          </p:cNvCxnSpPr>
          <p:nvPr/>
        </p:nvCxnSpPr>
        <p:spPr>
          <a:xfrm flipH="1">
            <a:off x="5816707" y="4411068"/>
            <a:ext cx="1800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4347038-4FDA-4A34-B2E0-38F76D11670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5816707" y="1631957"/>
            <a:ext cx="1800000" cy="1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3E01765-9AF9-4D05-8BA8-6D0795E6E1BC}"/>
              </a:ext>
            </a:extLst>
          </p:cNvPr>
          <p:cNvCxnSpPr>
            <a:cxnSpLocks/>
          </p:cNvCxnSpPr>
          <p:nvPr/>
        </p:nvCxnSpPr>
        <p:spPr>
          <a:xfrm>
            <a:off x="7616706" y="1603068"/>
            <a:ext cx="1" cy="28296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B44A9AE8-D40A-4231-8BCC-3720DA6D3EAF}"/>
              </a:ext>
            </a:extLst>
          </p:cNvPr>
          <p:cNvSpPr/>
          <p:nvPr/>
        </p:nvSpPr>
        <p:spPr>
          <a:xfrm>
            <a:off x="4086116" y="3871068"/>
            <a:ext cx="1730591" cy="108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Umgebung</a:t>
            </a:r>
            <a:endParaRPr lang="de-DE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6A80BD0E-DE74-418E-95CC-C43CD0CF9AE6}"/>
              </a:ext>
            </a:extLst>
          </p:cNvPr>
          <p:cNvCxnSpPr>
            <a:cxnSpLocks/>
          </p:cNvCxnSpPr>
          <p:nvPr/>
        </p:nvCxnSpPr>
        <p:spPr>
          <a:xfrm flipH="1">
            <a:off x="1926116" y="4611681"/>
            <a:ext cx="21600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90054DB7-BC24-4958-A4F5-1E7921D6270F}"/>
              </a:ext>
            </a:extLst>
          </p:cNvPr>
          <p:cNvCxnSpPr>
            <a:cxnSpLocks/>
          </p:cNvCxnSpPr>
          <p:nvPr/>
        </p:nvCxnSpPr>
        <p:spPr>
          <a:xfrm>
            <a:off x="2646116" y="4165244"/>
            <a:ext cx="14400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C4414A35-0856-4354-823B-DB45FF3FAF55}"/>
              </a:ext>
            </a:extLst>
          </p:cNvPr>
          <p:cNvCxnSpPr>
            <a:cxnSpLocks/>
          </p:cNvCxnSpPr>
          <p:nvPr/>
        </p:nvCxnSpPr>
        <p:spPr>
          <a:xfrm flipH="1" flipV="1">
            <a:off x="2646113" y="1851512"/>
            <a:ext cx="4" cy="23364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748F2A9D-3267-43CE-8EC1-BE6255746EC5}"/>
              </a:ext>
            </a:extLst>
          </p:cNvPr>
          <p:cNvCxnSpPr>
            <a:cxnSpLocks/>
          </p:cNvCxnSpPr>
          <p:nvPr/>
        </p:nvCxnSpPr>
        <p:spPr>
          <a:xfrm flipV="1">
            <a:off x="2646115" y="1881491"/>
            <a:ext cx="1440001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0FC280F-4C59-4ADA-B353-9C92A58FE80D}"/>
              </a:ext>
            </a:extLst>
          </p:cNvPr>
          <p:cNvCxnSpPr>
            <a:cxnSpLocks/>
          </p:cNvCxnSpPr>
          <p:nvPr/>
        </p:nvCxnSpPr>
        <p:spPr>
          <a:xfrm flipV="1">
            <a:off x="1925767" y="1352010"/>
            <a:ext cx="3" cy="32796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478A5C45-D01A-486C-B1FD-380D0734650F}"/>
              </a:ext>
            </a:extLst>
          </p:cNvPr>
          <p:cNvCxnSpPr>
            <a:cxnSpLocks/>
          </p:cNvCxnSpPr>
          <p:nvPr/>
        </p:nvCxnSpPr>
        <p:spPr>
          <a:xfrm flipV="1">
            <a:off x="1926116" y="1372893"/>
            <a:ext cx="2160000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C1E5A89A-7DEA-4FE6-A286-267BF2C98843}"/>
              </a:ext>
            </a:extLst>
          </p:cNvPr>
          <p:cNvSpPr txBox="1"/>
          <p:nvPr/>
        </p:nvSpPr>
        <p:spPr>
          <a:xfrm>
            <a:off x="2701409" y="2836846"/>
            <a:ext cx="18084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Belohnung r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+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183B83F-8FAF-458E-98A4-9472B2217C39}"/>
              </a:ext>
            </a:extLst>
          </p:cNvPr>
          <p:cNvSpPr txBox="1"/>
          <p:nvPr/>
        </p:nvSpPr>
        <p:spPr>
          <a:xfrm>
            <a:off x="306117" y="2789955"/>
            <a:ext cx="16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Zustand s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+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B8EE7B3D-C98D-40E3-8958-B5FF0657ECB7}"/>
              </a:ext>
            </a:extLst>
          </p:cNvPr>
          <p:cNvSpPr txBox="1"/>
          <p:nvPr/>
        </p:nvSpPr>
        <p:spPr>
          <a:xfrm>
            <a:off x="7725685" y="2836846"/>
            <a:ext cx="16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ktion a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1358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0517223A-4B20-03F2-ACBC-3E0907BDB590}"/>
              </a:ext>
            </a:extLst>
          </p:cNvPr>
          <p:cNvSpPr/>
          <p:nvPr/>
        </p:nvSpPr>
        <p:spPr>
          <a:xfrm>
            <a:off x="945437" y="1511559"/>
            <a:ext cx="1268963" cy="1259632"/>
          </a:xfrm>
          <a:prstGeom prst="rect">
            <a:avLst/>
          </a:prstGeom>
          <a:solidFill>
            <a:srgbClr val="B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066FEE3-4E1D-401F-68D1-4352A77043D3}"/>
              </a:ext>
            </a:extLst>
          </p:cNvPr>
          <p:cNvSpPr/>
          <p:nvPr/>
        </p:nvSpPr>
        <p:spPr>
          <a:xfrm>
            <a:off x="2214400" y="1511559"/>
            <a:ext cx="1268963" cy="1259632"/>
          </a:xfrm>
          <a:prstGeom prst="rect">
            <a:avLst/>
          </a:prstGeom>
          <a:solidFill>
            <a:srgbClr val="FFA0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CC12826-3A93-2627-14EE-CB496C19233F}"/>
              </a:ext>
            </a:extLst>
          </p:cNvPr>
          <p:cNvSpPr/>
          <p:nvPr/>
        </p:nvSpPr>
        <p:spPr>
          <a:xfrm>
            <a:off x="3483363" y="1511559"/>
            <a:ext cx="1268963" cy="1259632"/>
          </a:xfrm>
          <a:prstGeom prst="rect">
            <a:avLst/>
          </a:prstGeom>
          <a:solidFill>
            <a:srgbClr val="DFC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A598A68-94DA-A303-0984-A5873326CF37}"/>
              </a:ext>
            </a:extLst>
          </p:cNvPr>
          <p:cNvSpPr/>
          <p:nvPr/>
        </p:nvSpPr>
        <p:spPr>
          <a:xfrm>
            <a:off x="2214399" y="2771191"/>
            <a:ext cx="1268963" cy="1259632"/>
          </a:xfrm>
          <a:prstGeom prst="rect">
            <a:avLst/>
          </a:prstGeom>
          <a:solidFill>
            <a:srgbClr val="1F00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357E4C2-6FC2-4189-EE03-1F8B0D7BA80D}"/>
              </a:ext>
            </a:extLst>
          </p:cNvPr>
          <p:cNvSpPr/>
          <p:nvPr/>
        </p:nvSpPr>
        <p:spPr>
          <a:xfrm>
            <a:off x="3483361" y="2771191"/>
            <a:ext cx="1268963" cy="1259632"/>
          </a:xfrm>
          <a:prstGeom prst="rect">
            <a:avLst/>
          </a:prstGeom>
          <a:solidFill>
            <a:srgbClr val="003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5C81FB-675C-9102-162B-61C65E89E10D}"/>
              </a:ext>
            </a:extLst>
          </p:cNvPr>
          <p:cNvSpPr/>
          <p:nvPr/>
        </p:nvSpPr>
        <p:spPr>
          <a:xfrm>
            <a:off x="945435" y="2771191"/>
            <a:ext cx="1268963" cy="1259632"/>
          </a:xfrm>
          <a:prstGeom prst="rect">
            <a:avLst/>
          </a:prstGeom>
          <a:solidFill>
            <a:srgbClr val="9F72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329C9CE-DAD3-D247-037B-386DD9603EA7}"/>
              </a:ext>
            </a:extLst>
          </p:cNvPr>
          <p:cNvSpPr/>
          <p:nvPr/>
        </p:nvSpPr>
        <p:spPr>
          <a:xfrm>
            <a:off x="945434" y="4030823"/>
            <a:ext cx="1268963" cy="1259632"/>
          </a:xfrm>
          <a:prstGeom prst="rect">
            <a:avLst/>
          </a:prstGeom>
          <a:solidFill>
            <a:srgbClr val="3F5F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562C0D-2A20-45C8-3771-FACCD924931D}"/>
              </a:ext>
            </a:extLst>
          </p:cNvPr>
          <p:cNvSpPr/>
          <p:nvPr/>
        </p:nvSpPr>
        <p:spPr>
          <a:xfrm>
            <a:off x="2214399" y="4030823"/>
            <a:ext cx="1268963" cy="1259632"/>
          </a:xfrm>
          <a:prstGeom prst="rect">
            <a:avLst/>
          </a:prstGeom>
          <a:solidFill>
            <a:srgbClr val="7F05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5BE4D52-0C20-F1B2-A2EB-43197575AC77}"/>
              </a:ext>
            </a:extLst>
          </p:cNvPr>
          <p:cNvSpPr/>
          <p:nvPr/>
        </p:nvSpPr>
        <p:spPr>
          <a:xfrm>
            <a:off x="3483362" y="4030823"/>
            <a:ext cx="1268963" cy="1259632"/>
          </a:xfrm>
          <a:prstGeom prst="rect">
            <a:avLst/>
          </a:prstGeom>
          <a:solidFill>
            <a:srgbClr val="5F1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3446BA6-ADE9-5E19-B6D4-891E055BDAA3}"/>
              </a:ext>
            </a:extLst>
          </p:cNvPr>
          <p:cNvSpPr/>
          <p:nvPr/>
        </p:nvSpPr>
        <p:spPr>
          <a:xfrm>
            <a:off x="5588401" y="1511559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5AC2F8A-42D8-AB94-7CA5-3E06C7F47DA4}"/>
              </a:ext>
            </a:extLst>
          </p:cNvPr>
          <p:cNvSpPr/>
          <p:nvPr/>
        </p:nvSpPr>
        <p:spPr>
          <a:xfrm>
            <a:off x="6857364" y="1511559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19E79A0-80BD-99B0-8467-D5018F1E1DC9}"/>
              </a:ext>
            </a:extLst>
          </p:cNvPr>
          <p:cNvSpPr/>
          <p:nvPr/>
        </p:nvSpPr>
        <p:spPr>
          <a:xfrm>
            <a:off x="8126327" y="1511559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5558F6-6FEE-01D1-6B05-75C95E509959}"/>
              </a:ext>
            </a:extLst>
          </p:cNvPr>
          <p:cNvSpPr/>
          <p:nvPr/>
        </p:nvSpPr>
        <p:spPr>
          <a:xfrm>
            <a:off x="6857363" y="2771191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BAF5D91-7F08-39CF-3D27-47A006EC8EC1}"/>
              </a:ext>
            </a:extLst>
          </p:cNvPr>
          <p:cNvSpPr/>
          <p:nvPr/>
        </p:nvSpPr>
        <p:spPr>
          <a:xfrm>
            <a:off x="8126327" y="2771191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4BEB0D7-A4DE-2C5D-3C74-864E769A7150}"/>
              </a:ext>
            </a:extLst>
          </p:cNvPr>
          <p:cNvSpPr/>
          <p:nvPr/>
        </p:nvSpPr>
        <p:spPr>
          <a:xfrm>
            <a:off x="5588399" y="2771191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E4E6551-4C84-9598-B0E0-C32009BE1445}"/>
              </a:ext>
            </a:extLst>
          </p:cNvPr>
          <p:cNvSpPr/>
          <p:nvPr/>
        </p:nvSpPr>
        <p:spPr>
          <a:xfrm>
            <a:off x="5588398" y="4030823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8B68F27-84D7-ADDE-49DF-E0967218FF76}"/>
              </a:ext>
            </a:extLst>
          </p:cNvPr>
          <p:cNvSpPr/>
          <p:nvPr/>
        </p:nvSpPr>
        <p:spPr>
          <a:xfrm>
            <a:off x="6857363" y="4030823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CB84147-F5F2-3123-604B-7872A50917DC}"/>
              </a:ext>
            </a:extLst>
          </p:cNvPr>
          <p:cNvSpPr/>
          <p:nvPr/>
        </p:nvSpPr>
        <p:spPr>
          <a:xfrm>
            <a:off x="8126326" y="4030823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2C1E0D7-87EF-E873-262E-5ECD8151F46D}"/>
              </a:ext>
            </a:extLst>
          </p:cNvPr>
          <p:cNvSpPr txBox="1"/>
          <p:nvPr/>
        </p:nvSpPr>
        <p:spPr>
          <a:xfrm>
            <a:off x="5860524" y="1679710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191,255,255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B67C5C5-E889-176A-3ED4-F3DEA520BA16}"/>
              </a:ext>
            </a:extLst>
          </p:cNvPr>
          <p:cNvSpPr txBox="1"/>
          <p:nvPr/>
        </p:nvSpPr>
        <p:spPr>
          <a:xfrm>
            <a:off x="7130381" y="1679710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255,160,105)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6FFECBC-FDF8-BB9E-B649-2B739732D7C1}"/>
              </a:ext>
            </a:extLst>
          </p:cNvPr>
          <p:cNvSpPr txBox="1"/>
          <p:nvPr/>
        </p:nvSpPr>
        <p:spPr>
          <a:xfrm>
            <a:off x="5860520" y="2970136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159,114,71)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5999F31C-514A-9DA9-5FDE-1151064754EA}"/>
              </a:ext>
            </a:extLst>
          </p:cNvPr>
          <p:cNvSpPr txBox="1"/>
          <p:nvPr/>
        </p:nvSpPr>
        <p:spPr>
          <a:xfrm>
            <a:off x="7129483" y="2967335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31,  0,  255)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D381CB51-682E-4997-CBD7-16C6EC4EA3C6}"/>
              </a:ext>
            </a:extLst>
          </p:cNvPr>
          <p:cNvSpPr txBox="1"/>
          <p:nvPr/>
        </p:nvSpPr>
        <p:spPr>
          <a:xfrm>
            <a:off x="8398448" y="2967335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0, 53, 0)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28F1E1C8-2060-C8AF-432E-F35C74075AC0}"/>
              </a:ext>
            </a:extLst>
          </p:cNvPr>
          <p:cNvSpPr txBox="1"/>
          <p:nvPr/>
        </p:nvSpPr>
        <p:spPr>
          <a:xfrm>
            <a:off x="5860520" y="4198974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63, 95, 43)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31A61032-73C0-70B3-BFB6-9A6994AA04F8}"/>
              </a:ext>
            </a:extLst>
          </p:cNvPr>
          <p:cNvSpPr txBox="1"/>
          <p:nvPr/>
        </p:nvSpPr>
        <p:spPr>
          <a:xfrm>
            <a:off x="7129485" y="4198974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127,5, 102)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1D469AD9-821B-6E8D-52DE-C1BF15DC2DE2}"/>
              </a:ext>
            </a:extLst>
          </p:cNvPr>
          <p:cNvSpPr txBox="1"/>
          <p:nvPr/>
        </p:nvSpPr>
        <p:spPr>
          <a:xfrm>
            <a:off x="8398448" y="4198974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95, 22, 125)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5E08242-73A1-F4EC-C883-2E0D3EE74CE1}"/>
              </a:ext>
            </a:extLst>
          </p:cNvPr>
          <p:cNvSpPr txBox="1"/>
          <p:nvPr/>
        </p:nvSpPr>
        <p:spPr>
          <a:xfrm>
            <a:off x="8397555" y="1707703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223,203,111)</a:t>
            </a:r>
          </a:p>
        </p:txBody>
      </p:sp>
    </p:spTree>
    <p:extLst>
      <p:ext uri="{BB962C8B-B14F-4D97-AF65-F5344CB8AC3E}">
        <p14:creationId xmlns:p14="http://schemas.microsoft.com/office/powerpoint/2010/main" val="1696847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6C72F07E-4EE6-29EA-4E7E-A80F3605D84C}"/>
                  </a:ext>
                </a:extLst>
              </p:cNvPr>
              <p:cNvSpPr txBox="1"/>
              <p:nvPr/>
            </p:nvSpPr>
            <p:spPr>
              <a:xfrm>
                <a:off x="648000" y="1116000"/>
                <a:ext cx="5400000" cy="23621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9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𝟗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𝟑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𝟒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𝟏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𝟒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𝟗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𝟑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b="1" dirty="0"/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6C72F07E-4EE6-29EA-4E7E-A80F3605D8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000" y="1116000"/>
                <a:ext cx="5400000" cy="236212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feld 5">
            <a:extLst>
              <a:ext uri="{FF2B5EF4-FFF2-40B4-BE49-F238E27FC236}">
                <a16:creationId xmlns:a16="http://schemas.microsoft.com/office/drawing/2014/main" id="{B36EF358-5912-6FC4-4E6F-D9C909E6BF41}"/>
              </a:ext>
            </a:extLst>
          </p:cNvPr>
          <p:cNvSpPr txBox="1"/>
          <p:nvPr/>
        </p:nvSpPr>
        <p:spPr>
          <a:xfrm>
            <a:off x="130609" y="2191334"/>
            <a:ext cx="628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F =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84CB2085-AFC5-7DC4-2F65-AD4442CFDD3B}"/>
                  </a:ext>
                </a:extLst>
              </p:cNvPr>
              <p:cNvSpPr txBox="1"/>
              <p:nvPr/>
            </p:nvSpPr>
            <p:spPr>
              <a:xfrm>
                <a:off x="360000" y="3769223"/>
                <a:ext cx="5400000" cy="23602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9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b="1" dirty="0"/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84CB2085-AFC5-7DC4-2F65-AD4442CFDD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0000" y="3769223"/>
                <a:ext cx="5400000" cy="236026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feld 7">
            <a:extLst>
              <a:ext uri="{FF2B5EF4-FFF2-40B4-BE49-F238E27FC236}">
                <a16:creationId xmlns:a16="http://schemas.microsoft.com/office/drawing/2014/main" id="{FD2C682B-7FB4-A8FC-A12D-65EAD4DE8A2C}"/>
              </a:ext>
            </a:extLst>
          </p:cNvPr>
          <p:cNvSpPr txBox="1"/>
          <p:nvPr/>
        </p:nvSpPr>
        <p:spPr>
          <a:xfrm>
            <a:off x="130609" y="4749299"/>
            <a:ext cx="628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D =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D693FC1-6431-441B-CD5B-42819BC355DD}"/>
              </a:ext>
            </a:extLst>
          </p:cNvPr>
          <p:cNvSpPr txBox="1"/>
          <p:nvPr/>
        </p:nvSpPr>
        <p:spPr>
          <a:xfrm>
            <a:off x="6565391" y="2136931"/>
            <a:ext cx="23679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flüssse</a:t>
            </a:r>
            <a:r>
              <a:rPr lang="de-DE" sz="2000" b="1" dirty="0">
                <a:solidFill>
                  <a:srgbClr val="FF0000"/>
                </a:solidFill>
              </a:rPr>
              <a:t> = 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8</a:t>
            </a:r>
          </a:p>
        </p:txBody>
      </p:sp>
      <p:sp>
        <p:nvSpPr>
          <p:cNvPr id="10" name="Rechtwinkliges Dreieck 9">
            <a:extLst>
              <a:ext uri="{FF2B5EF4-FFF2-40B4-BE49-F238E27FC236}">
                <a16:creationId xmlns:a16="http://schemas.microsoft.com/office/drawing/2014/main" id="{5BADD7A0-80EE-1356-F4A1-E704EFAC813C}"/>
              </a:ext>
            </a:extLst>
          </p:cNvPr>
          <p:cNvSpPr/>
          <p:nvPr/>
        </p:nvSpPr>
        <p:spPr>
          <a:xfrm>
            <a:off x="858416" y="1184985"/>
            <a:ext cx="5019870" cy="2293137"/>
          </a:xfrm>
          <a:prstGeom prst="rtTriangle">
            <a:avLst/>
          </a:prstGeom>
          <a:solidFill>
            <a:srgbClr val="FF0000">
              <a:alpha val="31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450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5045EDB8-A31B-3B91-2D1F-EC0309747B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907574"/>
              </p:ext>
            </p:extLst>
          </p:nvPr>
        </p:nvGraphicFramePr>
        <p:xfrm>
          <a:off x="1650471" y="1228372"/>
          <a:ext cx="6601884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00942">
                  <a:extLst>
                    <a:ext uri="{9D8B030D-6E8A-4147-A177-3AD203B41FA5}">
                      <a16:colId xmlns:a16="http://schemas.microsoft.com/office/drawing/2014/main" val="198230865"/>
                    </a:ext>
                  </a:extLst>
                </a:gridCol>
                <a:gridCol w="3300942">
                  <a:extLst>
                    <a:ext uri="{9D8B030D-6E8A-4147-A177-3AD203B41FA5}">
                      <a16:colId xmlns:a16="http://schemas.microsoft.com/office/drawing/2014/main" val="37593734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chinenart/Tätigkei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rmpegel in dB(A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5361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eh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62107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hr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4200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äs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861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äg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2775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kier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23432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üf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092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weiß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25374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äs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4847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renausgang</a:t>
                      </a:r>
                      <a:endParaRPr lang="de-DE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57046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93681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56419FCC-A65F-CACF-BDAA-94A90FAEF4CB}"/>
              </a:ext>
            </a:extLst>
          </p:cNvPr>
          <p:cNvSpPr/>
          <p:nvPr/>
        </p:nvSpPr>
        <p:spPr>
          <a:xfrm>
            <a:off x="2160000" y="720000"/>
            <a:ext cx="5760000" cy="5760000"/>
          </a:xfrm>
          <a:prstGeom prst="rect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3550BF4-C2C5-2906-1F08-28B1041ABAA9}"/>
              </a:ext>
            </a:extLst>
          </p:cNvPr>
          <p:cNvCxnSpPr/>
          <p:nvPr/>
        </p:nvCxnSpPr>
        <p:spPr>
          <a:xfrm>
            <a:off x="2160000" y="108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F8328B6-CDA8-F342-4D05-2F0B3CEFB06F}"/>
              </a:ext>
            </a:extLst>
          </p:cNvPr>
          <p:cNvCxnSpPr/>
          <p:nvPr/>
        </p:nvCxnSpPr>
        <p:spPr>
          <a:xfrm>
            <a:off x="2160000" y="144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AB169E25-0F12-9917-B059-AFD3898D721F}"/>
              </a:ext>
            </a:extLst>
          </p:cNvPr>
          <p:cNvCxnSpPr/>
          <p:nvPr/>
        </p:nvCxnSpPr>
        <p:spPr>
          <a:xfrm>
            <a:off x="2160000" y="180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CC1063C-10B4-35B5-9A38-B60D8F687833}"/>
              </a:ext>
            </a:extLst>
          </p:cNvPr>
          <p:cNvCxnSpPr/>
          <p:nvPr/>
        </p:nvCxnSpPr>
        <p:spPr>
          <a:xfrm>
            <a:off x="2160000" y="216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186DA873-965A-AE6B-EAE1-43E7ACA700C2}"/>
              </a:ext>
            </a:extLst>
          </p:cNvPr>
          <p:cNvCxnSpPr/>
          <p:nvPr/>
        </p:nvCxnSpPr>
        <p:spPr>
          <a:xfrm>
            <a:off x="2160000" y="252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372DC568-98F5-FC16-E5AC-E5E8750E320C}"/>
              </a:ext>
            </a:extLst>
          </p:cNvPr>
          <p:cNvCxnSpPr/>
          <p:nvPr/>
        </p:nvCxnSpPr>
        <p:spPr>
          <a:xfrm>
            <a:off x="2160000" y="288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98CAC5B-3317-EA32-6967-C93591DF1FAF}"/>
              </a:ext>
            </a:extLst>
          </p:cNvPr>
          <p:cNvCxnSpPr/>
          <p:nvPr/>
        </p:nvCxnSpPr>
        <p:spPr>
          <a:xfrm>
            <a:off x="2160000" y="360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D05B015-E28A-6725-BB88-45EF5867D64F}"/>
              </a:ext>
            </a:extLst>
          </p:cNvPr>
          <p:cNvCxnSpPr/>
          <p:nvPr/>
        </p:nvCxnSpPr>
        <p:spPr>
          <a:xfrm>
            <a:off x="2160000" y="324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097158-03D3-61E0-5E20-478F35D36DDC}"/>
              </a:ext>
            </a:extLst>
          </p:cNvPr>
          <p:cNvCxnSpPr/>
          <p:nvPr/>
        </p:nvCxnSpPr>
        <p:spPr>
          <a:xfrm>
            <a:off x="2160000" y="396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82FF706-06C6-6696-D09D-C8E0FAAFC3FB}"/>
              </a:ext>
            </a:extLst>
          </p:cNvPr>
          <p:cNvCxnSpPr/>
          <p:nvPr/>
        </p:nvCxnSpPr>
        <p:spPr>
          <a:xfrm>
            <a:off x="2160000" y="432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4C367C5-5CD3-45CD-43E1-649B113AAB52}"/>
              </a:ext>
            </a:extLst>
          </p:cNvPr>
          <p:cNvCxnSpPr/>
          <p:nvPr/>
        </p:nvCxnSpPr>
        <p:spPr>
          <a:xfrm>
            <a:off x="2160000" y="468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DC61258-7478-EEB3-98FA-60A8F23B9B36}"/>
              </a:ext>
            </a:extLst>
          </p:cNvPr>
          <p:cNvCxnSpPr/>
          <p:nvPr/>
        </p:nvCxnSpPr>
        <p:spPr>
          <a:xfrm>
            <a:off x="2160000" y="504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DFF2FAF-6657-D60B-5CC2-6CDEE887B8A1}"/>
              </a:ext>
            </a:extLst>
          </p:cNvPr>
          <p:cNvCxnSpPr/>
          <p:nvPr/>
        </p:nvCxnSpPr>
        <p:spPr>
          <a:xfrm>
            <a:off x="2160000" y="540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38E8F2B-802B-B4BB-9F3D-13345893C29E}"/>
              </a:ext>
            </a:extLst>
          </p:cNvPr>
          <p:cNvCxnSpPr/>
          <p:nvPr/>
        </p:nvCxnSpPr>
        <p:spPr>
          <a:xfrm>
            <a:off x="2160000" y="576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D0ADD72-DD5E-B211-9DE1-13A2CD2CA680}"/>
              </a:ext>
            </a:extLst>
          </p:cNvPr>
          <p:cNvCxnSpPr/>
          <p:nvPr/>
        </p:nvCxnSpPr>
        <p:spPr>
          <a:xfrm>
            <a:off x="2160000" y="612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C4541AD4-DCF6-3165-BD95-F8DB1EC5DB35}"/>
              </a:ext>
            </a:extLst>
          </p:cNvPr>
          <p:cNvCxnSpPr/>
          <p:nvPr/>
        </p:nvCxnSpPr>
        <p:spPr>
          <a:xfrm>
            <a:off x="252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55BBE5D-5C6B-C22B-884B-CFE2CB49DAB5}"/>
              </a:ext>
            </a:extLst>
          </p:cNvPr>
          <p:cNvCxnSpPr/>
          <p:nvPr/>
        </p:nvCxnSpPr>
        <p:spPr>
          <a:xfrm>
            <a:off x="288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2A220A3-9343-1BC7-30A0-DF22D3E2723A}"/>
              </a:ext>
            </a:extLst>
          </p:cNvPr>
          <p:cNvCxnSpPr/>
          <p:nvPr/>
        </p:nvCxnSpPr>
        <p:spPr>
          <a:xfrm>
            <a:off x="324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18E39E45-E798-D861-736D-DB53D2F56EC6}"/>
              </a:ext>
            </a:extLst>
          </p:cNvPr>
          <p:cNvCxnSpPr/>
          <p:nvPr/>
        </p:nvCxnSpPr>
        <p:spPr>
          <a:xfrm>
            <a:off x="360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89D1A6C7-F252-615F-2E01-58B5C6ACF858}"/>
              </a:ext>
            </a:extLst>
          </p:cNvPr>
          <p:cNvCxnSpPr/>
          <p:nvPr/>
        </p:nvCxnSpPr>
        <p:spPr>
          <a:xfrm>
            <a:off x="396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EB1E7AC-A57D-2EE4-EBE9-2394091D1068}"/>
              </a:ext>
            </a:extLst>
          </p:cNvPr>
          <p:cNvCxnSpPr/>
          <p:nvPr/>
        </p:nvCxnSpPr>
        <p:spPr>
          <a:xfrm>
            <a:off x="432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5AC91956-838E-C68D-8D40-00D888FDAE03}"/>
              </a:ext>
            </a:extLst>
          </p:cNvPr>
          <p:cNvCxnSpPr/>
          <p:nvPr/>
        </p:nvCxnSpPr>
        <p:spPr>
          <a:xfrm>
            <a:off x="468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5B19E246-6081-76FA-BB30-F271E4866CFE}"/>
              </a:ext>
            </a:extLst>
          </p:cNvPr>
          <p:cNvCxnSpPr/>
          <p:nvPr/>
        </p:nvCxnSpPr>
        <p:spPr>
          <a:xfrm>
            <a:off x="504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E0D2B86-4CF0-00BB-FE42-19103611DE20}"/>
              </a:ext>
            </a:extLst>
          </p:cNvPr>
          <p:cNvCxnSpPr/>
          <p:nvPr/>
        </p:nvCxnSpPr>
        <p:spPr>
          <a:xfrm>
            <a:off x="540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3EFCA0BC-7749-389B-7754-994FF80B489D}"/>
              </a:ext>
            </a:extLst>
          </p:cNvPr>
          <p:cNvCxnSpPr/>
          <p:nvPr/>
        </p:nvCxnSpPr>
        <p:spPr>
          <a:xfrm>
            <a:off x="576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CC6F7053-6D2A-C196-1B37-4259E4AD2F5D}"/>
              </a:ext>
            </a:extLst>
          </p:cNvPr>
          <p:cNvCxnSpPr/>
          <p:nvPr/>
        </p:nvCxnSpPr>
        <p:spPr>
          <a:xfrm>
            <a:off x="612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0B0AE905-3083-10A5-3E49-1466780C88F6}"/>
              </a:ext>
            </a:extLst>
          </p:cNvPr>
          <p:cNvCxnSpPr/>
          <p:nvPr/>
        </p:nvCxnSpPr>
        <p:spPr>
          <a:xfrm>
            <a:off x="648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BC5E257-135C-AA7C-F1C4-DC03D6550D70}"/>
              </a:ext>
            </a:extLst>
          </p:cNvPr>
          <p:cNvCxnSpPr/>
          <p:nvPr/>
        </p:nvCxnSpPr>
        <p:spPr>
          <a:xfrm>
            <a:off x="684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B26ED6-F7E1-05CA-EA22-549F9A69E246}"/>
              </a:ext>
            </a:extLst>
          </p:cNvPr>
          <p:cNvCxnSpPr/>
          <p:nvPr/>
        </p:nvCxnSpPr>
        <p:spPr>
          <a:xfrm>
            <a:off x="720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76A3D4EE-65B6-2903-2241-393FEADEBDF5}"/>
              </a:ext>
            </a:extLst>
          </p:cNvPr>
          <p:cNvCxnSpPr/>
          <p:nvPr/>
        </p:nvCxnSpPr>
        <p:spPr>
          <a:xfrm>
            <a:off x="756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FF9DC80D-8239-43CD-8128-46A09D66DA0C}"/>
              </a:ext>
            </a:extLst>
          </p:cNvPr>
          <p:cNvGrpSpPr/>
          <p:nvPr/>
        </p:nvGrpSpPr>
        <p:grpSpPr>
          <a:xfrm>
            <a:off x="2088000" y="647192"/>
            <a:ext cx="5904000" cy="144869"/>
            <a:chOff x="2088000" y="647192"/>
            <a:chExt cx="5904000" cy="144869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732CC16A-7F9C-00F3-A275-EA72ED78419B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2026663F-DBFB-7E83-370C-78862B325F74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D414DBF-21F1-52C0-2728-B564F8100276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64D85D76-F7B1-A8AB-5B03-C8FD5BADBE29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C4CB2E48-2167-B660-6DC6-73C7777A71B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486716BE-4D5A-C8EC-5DCF-85EAA851C97D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664A7850-6F39-7425-0DB0-BB3CDCD59498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F3AC1FA1-82A9-F244-DDE5-7BC3F5906526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54BED8E9-2EC2-1A71-081F-06264F03BFB6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6DA938F2-42DE-A25E-A6E7-B58E884D8B30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85DE37E6-F4E7-67BA-6719-09CA6A572A55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291B75EA-3F3D-5C00-7CE2-1A3A39710C02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EEDE4978-D45F-F57F-99FC-4249676DFBC4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1B8D0B57-D878-E14F-DD88-0258AD40F052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A53CE8B2-832B-2127-91C0-E885F99FCC3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BF421283-B83F-CC1D-54C1-7507299AB191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A591BFDF-656A-DBDD-081B-FADA540BED58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14A1F07-EE97-6A6C-C6EC-B93927D0976A}"/>
              </a:ext>
            </a:extLst>
          </p:cNvPr>
          <p:cNvGrpSpPr/>
          <p:nvPr/>
        </p:nvGrpSpPr>
        <p:grpSpPr>
          <a:xfrm>
            <a:off x="2088000" y="1008000"/>
            <a:ext cx="5904000" cy="144869"/>
            <a:chOff x="2088000" y="647192"/>
            <a:chExt cx="5904000" cy="144869"/>
          </a:xfrm>
        </p:grpSpPr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3C04AF9C-978E-160F-363D-1A2C4EB03CE8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B575DAA5-6567-AB2E-C303-F664D8C62F71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6F08C01E-552D-E91A-5EA1-4C1123438A7C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3030D771-A9F2-40CF-EBD6-D2C66908BDC7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9B997EB1-3CB2-7BF7-C65B-61269E92579F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92AEB626-871C-7CCC-08A9-4B0BDB17197F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8DC68EDB-CC8B-8C72-C92F-C0976FB6023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92668B61-23DA-2784-60C8-17B1276E81AF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C687802E-CA56-56C0-7CB3-92EC2155BFC3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B800FF90-158A-E549-BB2D-CEDC6B7E25BC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DE0BD8EF-EC84-3ACC-A7F4-3FFD9288C5B7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0F5084CF-1ABE-7529-10AD-4D25CEE8995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06D50D40-EA86-AB86-F89A-93CF339E8EF6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7E9E5003-98EE-F261-D75F-7F17434A122F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1CC1E459-4547-ACC5-7D46-9AF25842224E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C21F3FB1-DDC2-6122-8F8F-9D46C176DAC8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4EB77C29-A5DB-C0DC-C2F2-A860C86E0A7E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1C0F3EB0-1FCD-1D99-08EA-5FE1423E57E2}"/>
              </a:ext>
            </a:extLst>
          </p:cNvPr>
          <p:cNvGrpSpPr/>
          <p:nvPr/>
        </p:nvGrpSpPr>
        <p:grpSpPr>
          <a:xfrm>
            <a:off x="2088000" y="1367940"/>
            <a:ext cx="5904000" cy="144869"/>
            <a:chOff x="2088000" y="647192"/>
            <a:chExt cx="5904000" cy="144869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56999D23-A5C3-D57B-D0EF-53462BDDD5BC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C49539BA-C5BA-9B60-C99E-5C6A92A1EE1C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379BB454-7336-E657-D40F-7734C4D1E25C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A0BE9D5C-798B-BE64-3C99-66CFCBDCD85C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3F84F4BB-99B3-AE0E-C630-6E3A4DFD429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D4EF48DF-CAA6-5CA6-1D0B-EEB90CB2218F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2723E505-F28E-B730-637F-11DBC8E04DB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4D22990C-B61C-E77B-4CEA-69C3C5C40F41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E7AD2399-6F27-BE71-797D-F3A44AC96989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E704112B-FD41-1CF3-E38E-EB2E70CDF696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0653CB34-7480-A3BF-D2BB-BAE00C2A551B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4732B10C-742D-5B3B-6DA0-5ED1463E8D7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17DFB1F4-A262-04CF-A381-8472E4DB20F3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F5907168-C309-1726-D0B4-A7D7C150AB64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51B35314-65F8-7A51-4629-5B7BC7265E7E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BF69F9A2-CBEA-7440-C17A-730AD6B066B2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1" name="Ellipse 90">
              <a:extLst>
                <a:ext uri="{FF2B5EF4-FFF2-40B4-BE49-F238E27FC236}">
                  <a16:creationId xmlns:a16="http://schemas.microsoft.com/office/drawing/2014/main" id="{21E1F910-F5CB-1184-B538-987683F2129E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62629C92-9D0F-A936-F2DF-8E7E91B52334}"/>
              </a:ext>
            </a:extLst>
          </p:cNvPr>
          <p:cNvGrpSpPr/>
          <p:nvPr/>
        </p:nvGrpSpPr>
        <p:grpSpPr>
          <a:xfrm>
            <a:off x="2088000" y="1728000"/>
            <a:ext cx="5904000" cy="144869"/>
            <a:chOff x="2088000" y="647192"/>
            <a:chExt cx="5904000" cy="144869"/>
          </a:xfrm>
        </p:grpSpPr>
        <p:sp>
          <p:nvSpPr>
            <p:cNvPr id="93" name="Ellipse 92">
              <a:extLst>
                <a:ext uri="{FF2B5EF4-FFF2-40B4-BE49-F238E27FC236}">
                  <a16:creationId xmlns:a16="http://schemas.microsoft.com/office/drawing/2014/main" id="{00602FAB-5BA7-B26F-F204-65DB7CFD5E9F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4" name="Ellipse 93">
              <a:extLst>
                <a:ext uri="{FF2B5EF4-FFF2-40B4-BE49-F238E27FC236}">
                  <a16:creationId xmlns:a16="http://schemas.microsoft.com/office/drawing/2014/main" id="{99756999-0B32-17AC-DF27-F78AD8FB03D7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5" name="Ellipse 94">
              <a:extLst>
                <a:ext uri="{FF2B5EF4-FFF2-40B4-BE49-F238E27FC236}">
                  <a16:creationId xmlns:a16="http://schemas.microsoft.com/office/drawing/2014/main" id="{F66D2C38-513C-CA48-AA0D-5A5BDCEE679F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6" name="Ellipse 95">
              <a:extLst>
                <a:ext uri="{FF2B5EF4-FFF2-40B4-BE49-F238E27FC236}">
                  <a16:creationId xmlns:a16="http://schemas.microsoft.com/office/drawing/2014/main" id="{00F2B142-6D67-7566-DBA6-65DDD1E81AB4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57284D28-3196-C6D4-9E26-C4FC25C8C358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EA733BE0-58EC-3218-1B6C-424BBF32617D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9" name="Ellipse 98">
              <a:extLst>
                <a:ext uri="{FF2B5EF4-FFF2-40B4-BE49-F238E27FC236}">
                  <a16:creationId xmlns:a16="http://schemas.microsoft.com/office/drawing/2014/main" id="{29753796-9A62-45A2-9DE3-B27FF89C8291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85579185-B06C-F49D-EF43-31EC415EDF22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1" name="Ellipse 100">
              <a:extLst>
                <a:ext uri="{FF2B5EF4-FFF2-40B4-BE49-F238E27FC236}">
                  <a16:creationId xmlns:a16="http://schemas.microsoft.com/office/drawing/2014/main" id="{74E0341E-0887-40B6-4348-6C648572B92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BF7E6ABF-1175-F170-76D6-0A798FE35694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83B702F4-1691-5E55-AED4-16A97CEC4857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04" name="Ellipse 103">
              <a:extLst>
                <a:ext uri="{FF2B5EF4-FFF2-40B4-BE49-F238E27FC236}">
                  <a16:creationId xmlns:a16="http://schemas.microsoft.com/office/drawing/2014/main" id="{88DC57CA-EEE8-590C-0CBD-A5A285D9960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DF93398C-0D61-2CB0-FF70-A4E1A1289329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2A0B3858-A374-0B58-41A2-65A4C9D04236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7" name="Ellipse 106">
              <a:extLst>
                <a:ext uri="{FF2B5EF4-FFF2-40B4-BE49-F238E27FC236}">
                  <a16:creationId xmlns:a16="http://schemas.microsoft.com/office/drawing/2014/main" id="{3A632CA2-4C2E-0747-64FE-AA67B02F768C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FB340520-F712-35B3-CA5F-645AD85E8C7D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9" name="Ellipse 108">
              <a:extLst>
                <a:ext uri="{FF2B5EF4-FFF2-40B4-BE49-F238E27FC236}">
                  <a16:creationId xmlns:a16="http://schemas.microsoft.com/office/drawing/2014/main" id="{141285D0-3D44-CAE8-BD6A-EC50A0AFD434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0" name="Gruppieren 109">
            <a:extLst>
              <a:ext uri="{FF2B5EF4-FFF2-40B4-BE49-F238E27FC236}">
                <a16:creationId xmlns:a16="http://schemas.microsoft.com/office/drawing/2014/main" id="{339DFCA0-8D8C-74A9-0D95-7A881754847C}"/>
              </a:ext>
            </a:extLst>
          </p:cNvPr>
          <p:cNvGrpSpPr/>
          <p:nvPr/>
        </p:nvGrpSpPr>
        <p:grpSpPr>
          <a:xfrm>
            <a:off x="2088000" y="6048000"/>
            <a:ext cx="5904000" cy="144869"/>
            <a:chOff x="2088000" y="647192"/>
            <a:chExt cx="5904000" cy="144869"/>
          </a:xfrm>
        </p:grpSpPr>
        <p:sp>
          <p:nvSpPr>
            <p:cNvPr id="111" name="Ellipse 110">
              <a:extLst>
                <a:ext uri="{FF2B5EF4-FFF2-40B4-BE49-F238E27FC236}">
                  <a16:creationId xmlns:a16="http://schemas.microsoft.com/office/drawing/2014/main" id="{21C4F793-9A68-FE13-F963-F36A4D5F392E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37438379-6DF4-F873-CB72-6164534FAAB5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3" name="Ellipse 112">
              <a:extLst>
                <a:ext uri="{FF2B5EF4-FFF2-40B4-BE49-F238E27FC236}">
                  <a16:creationId xmlns:a16="http://schemas.microsoft.com/office/drawing/2014/main" id="{6E8C8855-D640-78FE-463F-646C7A6AB387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4" name="Ellipse 113">
              <a:extLst>
                <a:ext uri="{FF2B5EF4-FFF2-40B4-BE49-F238E27FC236}">
                  <a16:creationId xmlns:a16="http://schemas.microsoft.com/office/drawing/2014/main" id="{9C05D93B-C506-D906-EFDA-09BEE4223157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5" name="Ellipse 114">
              <a:extLst>
                <a:ext uri="{FF2B5EF4-FFF2-40B4-BE49-F238E27FC236}">
                  <a16:creationId xmlns:a16="http://schemas.microsoft.com/office/drawing/2014/main" id="{EACD91A4-0211-D090-7F09-3A7D7C81BE70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6" name="Ellipse 115">
              <a:extLst>
                <a:ext uri="{FF2B5EF4-FFF2-40B4-BE49-F238E27FC236}">
                  <a16:creationId xmlns:a16="http://schemas.microsoft.com/office/drawing/2014/main" id="{8148F4C6-EAE4-1994-5703-74A3806B1A95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2631AF2F-B817-5798-62DF-CBB40926315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36B1D715-F01E-4BCE-043C-CD35A70E5F3C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9" name="Ellipse 118">
              <a:extLst>
                <a:ext uri="{FF2B5EF4-FFF2-40B4-BE49-F238E27FC236}">
                  <a16:creationId xmlns:a16="http://schemas.microsoft.com/office/drawing/2014/main" id="{FDA053D2-BD5C-0940-1B82-B8C346272A7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0" name="Ellipse 119">
              <a:extLst>
                <a:ext uri="{FF2B5EF4-FFF2-40B4-BE49-F238E27FC236}">
                  <a16:creationId xmlns:a16="http://schemas.microsoft.com/office/drawing/2014/main" id="{0AF87C6F-DFCA-6F9E-4C66-BB3C95E51B8B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1" name="Ellipse 120">
              <a:extLst>
                <a:ext uri="{FF2B5EF4-FFF2-40B4-BE49-F238E27FC236}">
                  <a16:creationId xmlns:a16="http://schemas.microsoft.com/office/drawing/2014/main" id="{3C5EDA73-C881-A887-6DDB-ACF0716C2F93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22" name="Ellipse 121">
              <a:extLst>
                <a:ext uri="{FF2B5EF4-FFF2-40B4-BE49-F238E27FC236}">
                  <a16:creationId xmlns:a16="http://schemas.microsoft.com/office/drawing/2014/main" id="{9104CA83-F7BC-BD81-7ADC-6F0ADA05C120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3" name="Ellipse 122">
              <a:extLst>
                <a:ext uri="{FF2B5EF4-FFF2-40B4-BE49-F238E27FC236}">
                  <a16:creationId xmlns:a16="http://schemas.microsoft.com/office/drawing/2014/main" id="{7C326E08-EE77-8D5A-82F5-1F72DE339EBA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4" name="Ellipse 123">
              <a:extLst>
                <a:ext uri="{FF2B5EF4-FFF2-40B4-BE49-F238E27FC236}">
                  <a16:creationId xmlns:a16="http://schemas.microsoft.com/office/drawing/2014/main" id="{93BD5D47-F1CC-AA4E-E8CB-3BE362FA4983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5" name="Ellipse 124">
              <a:extLst>
                <a:ext uri="{FF2B5EF4-FFF2-40B4-BE49-F238E27FC236}">
                  <a16:creationId xmlns:a16="http://schemas.microsoft.com/office/drawing/2014/main" id="{2CED0310-26A1-47A1-9581-C237AD9A91E1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6" name="Ellipse 125">
              <a:extLst>
                <a:ext uri="{FF2B5EF4-FFF2-40B4-BE49-F238E27FC236}">
                  <a16:creationId xmlns:a16="http://schemas.microsoft.com/office/drawing/2014/main" id="{F91B1824-D2B5-B7A5-9982-AA505355BC2F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7" name="Ellipse 126">
              <a:extLst>
                <a:ext uri="{FF2B5EF4-FFF2-40B4-BE49-F238E27FC236}">
                  <a16:creationId xmlns:a16="http://schemas.microsoft.com/office/drawing/2014/main" id="{3F82B5B2-A534-DFD2-C18E-66FC34DDA3F5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B93DD102-0BAE-EBAC-5A43-DCD905742592}"/>
              </a:ext>
            </a:extLst>
          </p:cNvPr>
          <p:cNvGrpSpPr/>
          <p:nvPr/>
        </p:nvGrpSpPr>
        <p:grpSpPr>
          <a:xfrm>
            <a:off x="2088000" y="2448000"/>
            <a:ext cx="5904000" cy="144869"/>
            <a:chOff x="2088000" y="647192"/>
            <a:chExt cx="5904000" cy="144869"/>
          </a:xfrm>
        </p:grpSpPr>
        <p:sp>
          <p:nvSpPr>
            <p:cNvPr id="129" name="Ellipse 128">
              <a:extLst>
                <a:ext uri="{FF2B5EF4-FFF2-40B4-BE49-F238E27FC236}">
                  <a16:creationId xmlns:a16="http://schemas.microsoft.com/office/drawing/2014/main" id="{7435D7FD-0C1E-2690-00D3-FCD8A6023A7C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9E991C89-70AD-61CC-B2A9-8DCA6F14451E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E94B2F5D-378E-6ACE-DCC6-F1C58ED40B72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2" name="Ellipse 131">
              <a:extLst>
                <a:ext uri="{FF2B5EF4-FFF2-40B4-BE49-F238E27FC236}">
                  <a16:creationId xmlns:a16="http://schemas.microsoft.com/office/drawing/2014/main" id="{B310DFD6-40A3-FB70-4189-305B9ED1F644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3" name="Ellipse 132">
              <a:extLst>
                <a:ext uri="{FF2B5EF4-FFF2-40B4-BE49-F238E27FC236}">
                  <a16:creationId xmlns:a16="http://schemas.microsoft.com/office/drawing/2014/main" id="{93B52103-99DF-44A3-FCD8-A1D322EBD649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4" name="Ellipse 133">
              <a:extLst>
                <a:ext uri="{FF2B5EF4-FFF2-40B4-BE49-F238E27FC236}">
                  <a16:creationId xmlns:a16="http://schemas.microsoft.com/office/drawing/2014/main" id="{1A40F455-B980-7FC7-6980-807B3A146085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5" name="Ellipse 134">
              <a:extLst>
                <a:ext uri="{FF2B5EF4-FFF2-40B4-BE49-F238E27FC236}">
                  <a16:creationId xmlns:a16="http://schemas.microsoft.com/office/drawing/2014/main" id="{07C03CA5-C74E-A3EE-9E98-AAED8E9D96F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6" name="Ellipse 135">
              <a:extLst>
                <a:ext uri="{FF2B5EF4-FFF2-40B4-BE49-F238E27FC236}">
                  <a16:creationId xmlns:a16="http://schemas.microsoft.com/office/drawing/2014/main" id="{DB5B3003-4105-6FB4-1CA5-07EDACFBD701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7" name="Ellipse 136">
              <a:extLst>
                <a:ext uri="{FF2B5EF4-FFF2-40B4-BE49-F238E27FC236}">
                  <a16:creationId xmlns:a16="http://schemas.microsoft.com/office/drawing/2014/main" id="{A560B5A6-C5E2-05D8-ED74-D09726BD04C2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8" name="Ellipse 137">
              <a:extLst>
                <a:ext uri="{FF2B5EF4-FFF2-40B4-BE49-F238E27FC236}">
                  <a16:creationId xmlns:a16="http://schemas.microsoft.com/office/drawing/2014/main" id="{9D4D7939-5461-AE68-CB1E-20606D52718D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9" name="Ellipse 138">
              <a:extLst>
                <a:ext uri="{FF2B5EF4-FFF2-40B4-BE49-F238E27FC236}">
                  <a16:creationId xmlns:a16="http://schemas.microsoft.com/office/drawing/2014/main" id="{BF8EA2D8-DF28-1617-EA6D-C1CFFCE4C7C2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0" name="Ellipse 139">
              <a:extLst>
                <a:ext uri="{FF2B5EF4-FFF2-40B4-BE49-F238E27FC236}">
                  <a16:creationId xmlns:a16="http://schemas.microsoft.com/office/drawing/2014/main" id="{16ECB68E-89E9-681C-A7B6-810572122417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1" name="Ellipse 140">
              <a:extLst>
                <a:ext uri="{FF2B5EF4-FFF2-40B4-BE49-F238E27FC236}">
                  <a16:creationId xmlns:a16="http://schemas.microsoft.com/office/drawing/2014/main" id="{3B1386E4-C0E8-5A3B-5E91-AAD73ABC27C6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2" name="Ellipse 141">
              <a:extLst>
                <a:ext uri="{FF2B5EF4-FFF2-40B4-BE49-F238E27FC236}">
                  <a16:creationId xmlns:a16="http://schemas.microsoft.com/office/drawing/2014/main" id="{2CFA502E-3A6A-48D9-D87A-9B1474627158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id="{DBA36FAC-4609-0CBA-06BC-1EC2CC29DDA0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4" name="Ellipse 143">
              <a:extLst>
                <a:ext uri="{FF2B5EF4-FFF2-40B4-BE49-F238E27FC236}">
                  <a16:creationId xmlns:a16="http://schemas.microsoft.com/office/drawing/2014/main" id="{03E8761B-3837-D461-C24E-DE19212CE983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DBB34365-CAED-49AD-5764-6097F924853B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6" name="Gruppieren 145">
            <a:extLst>
              <a:ext uri="{FF2B5EF4-FFF2-40B4-BE49-F238E27FC236}">
                <a16:creationId xmlns:a16="http://schemas.microsoft.com/office/drawing/2014/main" id="{120A76A3-ECE8-F7E3-21F4-DCC0737CC7A7}"/>
              </a:ext>
            </a:extLst>
          </p:cNvPr>
          <p:cNvGrpSpPr/>
          <p:nvPr/>
        </p:nvGrpSpPr>
        <p:grpSpPr>
          <a:xfrm>
            <a:off x="2088000" y="2088000"/>
            <a:ext cx="5904000" cy="144869"/>
            <a:chOff x="2088000" y="647192"/>
            <a:chExt cx="5904000" cy="144869"/>
          </a:xfrm>
        </p:grpSpPr>
        <p:sp>
          <p:nvSpPr>
            <p:cNvPr id="147" name="Ellipse 146">
              <a:extLst>
                <a:ext uri="{FF2B5EF4-FFF2-40B4-BE49-F238E27FC236}">
                  <a16:creationId xmlns:a16="http://schemas.microsoft.com/office/drawing/2014/main" id="{F9CD3FD2-95D9-B4D4-7B8D-A33520ADF761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8" name="Ellipse 147">
              <a:extLst>
                <a:ext uri="{FF2B5EF4-FFF2-40B4-BE49-F238E27FC236}">
                  <a16:creationId xmlns:a16="http://schemas.microsoft.com/office/drawing/2014/main" id="{61C9433A-5144-FF34-F7D9-8C9E983B1356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DCE33DEB-54FA-E0B6-9E0C-B409A6C79A84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0" name="Ellipse 149">
              <a:extLst>
                <a:ext uri="{FF2B5EF4-FFF2-40B4-BE49-F238E27FC236}">
                  <a16:creationId xmlns:a16="http://schemas.microsoft.com/office/drawing/2014/main" id="{97344D1D-1B21-CE73-7A7F-A4A5BDFAA68A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1" name="Ellipse 150">
              <a:extLst>
                <a:ext uri="{FF2B5EF4-FFF2-40B4-BE49-F238E27FC236}">
                  <a16:creationId xmlns:a16="http://schemas.microsoft.com/office/drawing/2014/main" id="{5595EF2C-902F-B192-0102-C359236F01E9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2" name="Ellipse 151">
              <a:extLst>
                <a:ext uri="{FF2B5EF4-FFF2-40B4-BE49-F238E27FC236}">
                  <a16:creationId xmlns:a16="http://schemas.microsoft.com/office/drawing/2014/main" id="{75D8EB79-561E-A9CA-55B5-8701E06A79AC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3" name="Ellipse 152">
              <a:extLst>
                <a:ext uri="{FF2B5EF4-FFF2-40B4-BE49-F238E27FC236}">
                  <a16:creationId xmlns:a16="http://schemas.microsoft.com/office/drawing/2014/main" id="{8E47577C-448E-D6C4-598B-99BBFA72A92D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4" name="Ellipse 153">
              <a:extLst>
                <a:ext uri="{FF2B5EF4-FFF2-40B4-BE49-F238E27FC236}">
                  <a16:creationId xmlns:a16="http://schemas.microsoft.com/office/drawing/2014/main" id="{F6D032F0-17DB-E8AD-3977-3D8EE600525A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5" name="Ellipse 154">
              <a:extLst>
                <a:ext uri="{FF2B5EF4-FFF2-40B4-BE49-F238E27FC236}">
                  <a16:creationId xmlns:a16="http://schemas.microsoft.com/office/drawing/2014/main" id="{C67EC547-2CA7-90A0-5C84-C369415C7B5B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6" name="Ellipse 155">
              <a:extLst>
                <a:ext uri="{FF2B5EF4-FFF2-40B4-BE49-F238E27FC236}">
                  <a16:creationId xmlns:a16="http://schemas.microsoft.com/office/drawing/2014/main" id="{70B1471A-5276-AA94-2A0A-92B1C2B32102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7" name="Ellipse 156">
              <a:extLst>
                <a:ext uri="{FF2B5EF4-FFF2-40B4-BE49-F238E27FC236}">
                  <a16:creationId xmlns:a16="http://schemas.microsoft.com/office/drawing/2014/main" id="{3F871E89-3BBB-04AC-0D53-0984B270F8CC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8" name="Ellipse 157">
              <a:extLst>
                <a:ext uri="{FF2B5EF4-FFF2-40B4-BE49-F238E27FC236}">
                  <a16:creationId xmlns:a16="http://schemas.microsoft.com/office/drawing/2014/main" id="{52A95DCF-AE6D-0504-230B-D69C3486BF3E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2ECAFA41-54A9-FD0B-B02C-4EAC17653AB1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Ellipse 159">
              <a:extLst>
                <a:ext uri="{FF2B5EF4-FFF2-40B4-BE49-F238E27FC236}">
                  <a16:creationId xmlns:a16="http://schemas.microsoft.com/office/drawing/2014/main" id="{C5A268E7-6D62-72BA-47D7-F11C3D9A4191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1" name="Ellipse 160">
              <a:extLst>
                <a:ext uri="{FF2B5EF4-FFF2-40B4-BE49-F238E27FC236}">
                  <a16:creationId xmlns:a16="http://schemas.microsoft.com/office/drawing/2014/main" id="{7DDFD165-A973-5F9E-FE0E-1C5A95CA428C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2" name="Ellipse 161">
              <a:extLst>
                <a:ext uri="{FF2B5EF4-FFF2-40B4-BE49-F238E27FC236}">
                  <a16:creationId xmlns:a16="http://schemas.microsoft.com/office/drawing/2014/main" id="{91C87B32-480B-13A2-AE58-4EBEE61DC320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3" name="Ellipse 162">
              <a:extLst>
                <a:ext uri="{FF2B5EF4-FFF2-40B4-BE49-F238E27FC236}">
                  <a16:creationId xmlns:a16="http://schemas.microsoft.com/office/drawing/2014/main" id="{67E1CD33-ABD6-3FDC-769E-2F85AD66729F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64" name="Gruppieren 163">
            <a:extLst>
              <a:ext uri="{FF2B5EF4-FFF2-40B4-BE49-F238E27FC236}">
                <a16:creationId xmlns:a16="http://schemas.microsoft.com/office/drawing/2014/main" id="{9FB87F93-6937-E225-3568-5E79649AEC80}"/>
              </a:ext>
            </a:extLst>
          </p:cNvPr>
          <p:cNvGrpSpPr/>
          <p:nvPr/>
        </p:nvGrpSpPr>
        <p:grpSpPr>
          <a:xfrm>
            <a:off x="2088000" y="2808000"/>
            <a:ext cx="5904000" cy="144869"/>
            <a:chOff x="2088000" y="647192"/>
            <a:chExt cx="5904000" cy="144869"/>
          </a:xfrm>
        </p:grpSpPr>
        <p:sp>
          <p:nvSpPr>
            <p:cNvPr id="165" name="Ellipse 164">
              <a:extLst>
                <a:ext uri="{FF2B5EF4-FFF2-40B4-BE49-F238E27FC236}">
                  <a16:creationId xmlns:a16="http://schemas.microsoft.com/office/drawing/2014/main" id="{729064F8-0358-7334-2D02-E2F089DBBD4B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BB854DC7-0157-C5AC-4BBA-E83A8F6D8D2A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7" name="Ellipse 166">
              <a:extLst>
                <a:ext uri="{FF2B5EF4-FFF2-40B4-BE49-F238E27FC236}">
                  <a16:creationId xmlns:a16="http://schemas.microsoft.com/office/drawing/2014/main" id="{F6077924-A5AA-D6FF-DCF9-B58B6CE5C550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C23D9DF9-6EDD-9FEE-387F-5A9BF8C34541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9" name="Ellipse 168">
              <a:extLst>
                <a:ext uri="{FF2B5EF4-FFF2-40B4-BE49-F238E27FC236}">
                  <a16:creationId xmlns:a16="http://schemas.microsoft.com/office/drawing/2014/main" id="{1A3EF621-2EDB-BB05-0411-C5C3FBEC4E5D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0" name="Ellipse 169">
              <a:extLst>
                <a:ext uri="{FF2B5EF4-FFF2-40B4-BE49-F238E27FC236}">
                  <a16:creationId xmlns:a16="http://schemas.microsoft.com/office/drawing/2014/main" id="{88EAD519-CC2C-A50C-FD26-BB73A83415E0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id="{F10C99F1-6FBC-2DFD-3B80-51DF18DAA615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2" name="Ellipse 171">
              <a:extLst>
                <a:ext uri="{FF2B5EF4-FFF2-40B4-BE49-F238E27FC236}">
                  <a16:creationId xmlns:a16="http://schemas.microsoft.com/office/drawing/2014/main" id="{39EE3C73-8AEE-093B-5F1C-0D2D9DC52F7B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3" name="Ellipse 172">
              <a:extLst>
                <a:ext uri="{FF2B5EF4-FFF2-40B4-BE49-F238E27FC236}">
                  <a16:creationId xmlns:a16="http://schemas.microsoft.com/office/drawing/2014/main" id="{4D405715-F92D-6BAB-F88A-C4BD03381D97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4" name="Ellipse 173">
              <a:extLst>
                <a:ext uri="{FF2B5EF4-FFF2-40B4-BE49-F238E27FC236}">
                  <a16:creationId xmlns:a16="http://schemas.microsoft.com/office/drawing/2014/main" id="{31B4EC38-8F70-3D4D-8BAF-D4721BA4616C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5" name="Ellipse 174">
              <a:extLst>
                <a:ext uri="{FF2B5EF4-FFF2-40B4-BE49-F238E27FC236}">
                  <a16:creationId xmlns:a16="http://schemas.microsoft.com/office/drawing/2014/main" id="{86E6369A-C852-8FB2-7588-7F143CFC5598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A91E3D79-D4B6-7FF7-AC22-83CB5D8B209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7" name="Ellipse 176">
              <a:extLst>
                <a:ext uri="{FF2B5EF4-FFF2-40B4-BE49-F238E27FC236}">
                  <a16:creationId xmlns:a16="http://schemas.microsoft.com/office/drawing/2014/main" id="{1F54EB1E-E7F1-4D5C-09D6-C7BE6A89276F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8" name="Ellipse 177">
              <a:extLst>
                <a:ext uri="{FF2B5EF4-FFF2-40B4-BE49-F238E27FC236}">
                  <a16:creationId xmlns:a16="http://schemas.microsoft.com/office/drawing/2014/main" id="{B30A6A10-5979-FB03-414B-08781178BAAD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9" name="Ellipse 178">
              <a:extLst>
                <a:ext uri="{FF2B5EF4-FFF2-40B4-BE49-F238E27FC236}">
                  <a16:creationId xmlns:a16="http://schemas.microsoft.com/office/drawing/2014/main" id="{9B19D49E-05A6-E7EF-C9CD-B8BE9715B8CE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0" name="Ellipse 179">
              <a:extLst>
                <a:ext uri="{FF2B5EF4-FFF2-40B4-BE49-F238E27FC236}">
                  <a16:creationId xmlns:a16="http://schemas.microsoft.com/office/drawing/2014/main" id="{17060B05-0F92-0FAC-A875-18A64F5E4DA6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1" name="Ellipse 180">
              <a:extLst>
                <a:ext uri="{FF2B5EF4-FFF2-40B4-BE49-F238E27FC236}">
                  <a16:creationId xmlns:a16="http://schemas.microsoft.com/office/drawing/2014/main" id="{0F53AEC3-D66A-FEEB-E970-63AE3FFAF2D5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82" name="Gruppieren 181">
            <a:extLst>
              <a:ext uri="{FF2B5EF4-FFF2-40B4-BE49-F238E27FC236}">
                <a16:creationId xmlns:a16="http://schemas.microsoft.com/office/drawing/2014/main" id="{09BFC0CE-F878-57F9-54FB-E94A5143D1A4}"/>
              </a:ext>
            </a:extLst>
          </p:cNvPr>
          <p:cNvGrpSpPr/>
          <p:nvPr/>
        </p:nvGrpSpPr>
        <p:grpSpPr>
          <a:xfrm>
            <a:off x="2088000" y="4968000"/>
            <a:ext cx="5904000" cy="144869"/>
            <a:chOff x="2088000" y="647192"/>
            <a:chExt cx="5904000" cy="144869"/>
          </a:xfrm>
        </p:grpSpPr>
        <p:sp>
          <p:nvSpPr>
            <p:cNvPr id="183" name="Ellipse 182">
              <a:extLst>
                <a:ext uri="{FF2B5EF4-FFF2-40B4-BE49-F238E27FC236}">
                  <a16:creationId xmlns:a16="http://schemas.microsoft.com/office/drawing/2014/main" id="{29BB456D-AA72-8296-ADAE-DA670B8C71E7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4" name="Ellipse 183">
              <a:extLst>
                <a:ext uri="{FF2B5EF4-FFF2-40B4-BE49-F238E27FC236}">
                  <a16:creationId xmlns:a16="http://schemas.microsoft.com/office/drawing/2014/main" id="{BE3B7FD4-8B53-40DF-9787-7B82D9F94F16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5" name="Ellipse 184">
              <a:extLst>
                <a:ext uri="{FF2B5EF4-FFF2-40B4-BE49-F238E27FC236}">
                  <a16:creationId xmlns:a16="http://schemas.microsoft.com/office/drawing/2014/main" id="{4F0C7310-16F8-B43C-CC03-114C5B8FBAF3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6" name="Ellipse 185">
              <a:extLst>
                <a:ext uri="{FF2B5EF4-FFF2-40B4-BE49-F238E27FC236}">
                  <a16:creationId xmlns:a16="http://schemas.microsoft.com/office/drawing/2014/main" id="{4F3837D6-383C-9DB9-45BF-8525C25E6580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7" name="Ellipse 186">
              <a:extLst>
                <a:ext uri="{FF2B5EF4-FFF2-40B4-BE49-F238E27FC236}">
                  <a16:creationId xmlns:a16="http://schemas.microsoft.com/office/drawing/2014/main" id="{044040CF-C840-F76B-B175-F5892B2F9F82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305ABAFA-7E29-E07D-2CC8-3769D509FC49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9" name="Ellipse 188">
              <a:extLst>
                <a:ext uri="{FF2B5EF4-FFF2-40B4-BE49-F238E27FC236}">
                  <a16:creationId xmlns:a16="http://schemas.microsoft.com/office/drawing/2014/main" id="{8385ABAA-4396-23CA-2572-C1061174FC4E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0" name="Ellipse 189">
              <a:extLst>
                <a:ext uri="{FF2B5EF4-FFF2-40B4-BE49-F238E27FC236}">
                  <a16:creationId xmlns:a16="http://schemas.microsoft.com/office/drawing/2014/main" id="{E83615F1-36A9-EBA4-F70F-3B69518FFD17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1" name="Ellipse 190">
              <a:extLst>
                <a:ext uri="{FF2B5EF4-FFF2-40B4-BE49-F238E27FC236}">
                  <a16:creationId xmlns:a16="http://schemas.microsoft.com/office/drawing/2014/main" id="{4C3B9C66-340C-47D9-EA72-79CAD8D449E6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2" name="Ellipse 191">
              <a:extLst>
                <a:ext uri="{FF2B5EF4-FFF2-40B4-BE49-F238E27FC236}">
                  <a16:creationId xmlns:a16="http://schemas.microsoft.com/office/drawing/2014/main" id="{78824EDA-1506-6F66-A8B3-6DA90E42E5D3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3" name="Ellipse 192">
              <a:extLst>
                <a:ext uri="{FF2B5EF4-FFF2-40B4-BE49-F238E27FC236}">
                  <a16:creationId xmlns:a16="http://schemas.microsoft.com/office/drawing/2014/main" id="{EFFC840A-8BEC-1606-F2EF-365813A8A45D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4" name="Ellipse 193">
              <a:extLst>
                <a:ext uri="{FF2B5EF4-FFF2-40B4-BE49-F238E27FC236}">
                  <a16:creationId xmlns:a16="http://schemas.microsoft.com/office/drawing/2014/main" id="{F47D7448-EE56-CD0B-EBB3-417932CB1C45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5" name="Ellipse 194">
              <a:extLst>
                <a:ext uri="{FF2B5EF4-FFF2-40B4-BE49-F238E27FC236}">
                  <a16:creationId xmlns:a16="http://schemas.microsoft.com/office/drawing/2014/main" id="{C45DF9AD-8A35-1996-B804-4D2E806E15CD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6" name="Ellipse 195">
              <a:extLst>
                <a:ext uri="{FF2B5EF4-FFF2-40B4-BE49-F238E27FC236}">
                  <a16:creationId xmlns:a16="http://schemas.microsoft.com/office/drawing/2014/main" id="{007049A0-2B4D-C96F-BB4D-90AD03E8D780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7" name="Ellipse 196">
              <a:extLst>
                <a:ext uri="{FF2B5EF4-FFF2-40B4-BE49-F238E27FC236}">
                  <a16:creationId xmlns:a16="http://schemas.microsoft.com/office/drawing/2014/main" id="{62A7E014-B74C-FFBA-0BFC-69945E71998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46797241-EC42-38FD-8E18-89B4862AB458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9" name="Ellipse 198">
              <a:extLst>
                <a:ext uri="{FF2B5EF4-FFF2-40B4-BE49-F238E27FC236}">
                  <a16:creationId xmlns:a16="http://schemas.microsoft.com/office/drawing/2014/main" id="{337737CF-5C88-DF1F-6333-99A680ACEE93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0" name="Gruppieren 199">
            <a:extLst>
              <a:ext uri="{FF2B5EF4-FFF2-40B4-BE49-F238E27FC236}">
                <a16:creationId xmlns:a16="http://schemas.microsoft.com/office/drawing/2014/main" id="{440C9996-6B61-018A-7F2A-D27667E42F10}"/>
              </a:ext>
            </a:extLst>
          </p:cNvPr>
          <p:cNvGrpSpPr/>
          <p:nvPr/>
        </p:nvGrpSpPr>
        <p:grpSpPr>
          <a:xfrm>
            <a:off x="2088000" y="5328000"/>
            <a:ext cx="5904000" cy="144869"/>
            <a:chOff x="2088000" y="647192"/>
            <a:chExt cx="5904000" cy="144869"/>
          </a:xfrm>
        </p:grpSpPr>
        <p:sp>
          <p:nvSpPr>
            <p:cNvPr id="201" name="Ellipse 200">
              <a:extLst>
                <a:ext uri="{FF2B5EF4-FFF2-40B4-BE49-F238E27FC236}">
                  <a16:creationId xmlns:a16="http://schemas.microsoft.com/office/drawing/2014/main" id="{14E21F68-D842-0D3D-4A1A-0DD9173E623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2" name="Ellipse 201">
              <a:extLst>
                <a:ext uri="{FF2B5EF4-FFF2-40B4-BE49-F238E27FC236}">
                  <a16:creationId xmlns:a16="http://schemas.microsoft.com/office/drawing/2014/main" id="{1D1EAB1A-1B8B-D4D1-9356-DE0DFBDDD744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3" name="Ellipse 202">
              <a:extLst>
                <a:ext uri="{FF2B5EF4-FFF2-40B4-BE49-F238E27FC236}">
                  <a16:creationId xmlns:a16="http://schemas.microsoft.com/office/drawing/2014/main" id="{A5FC9278-A4EE-CE15-C41C-04CCE62A0B30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" name="Ellipse 203">
              <a:extLst>
                <a:ext uri="{FF2B5EF4-FFF2-40B4-BE49-F238E27FC236}">
                  <a16:creationId xmlns:a16="http://schemas.microsoft.com/office/drawing/2014/main" id="{6EB0B0C2-58CC-53E8-CE15-545B1A18ADB3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" name="Ellipse 204">
              <a:extLst>
                <a:ext uri="{FF2B5EF4-FFF2-40B4-BE49-F238E27FC236}">
                  <a16:creationId xmlns:a16="http://schemas.microsoft.com/office/drawing/2014/main" id="{6F088056-DF94-FBDA-C9D6-D0A14A3AA7C3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6" name="Ellipse 205">
              <a:extLst>
                <a:ext uri="{FF2B5EF4-FFF2-40B4-BE49-F238E27FC236}">
                  <a16:creationId xmlns:a16="http://schemas.microsoft.com/office/drawing/2014/main" id="{AB22A402-CFF7-1E5A-4D06-6DE17843103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7" name="Ellipse 206">
              <a:extLst>
                <a:ext uri="{FF2B5EF4-FFF2-40B4-BE49-F238E27FC236}">
                  <a16:creationId xmlns:a16="http://schemas.microsoft.com/office/drawing/2014/main" id="{AD84D3F6-BE70-3AB6-74FF-467FDF7977DA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8" name="Ellipse 207">
              <a:extLst>
                <a:ext uri="{FF2B5EF4-FFF2-40B4-BE49-F238E27FC236}">
                  <a16:creationId xmlns:a16="http://schemas.microsoft.com/office/drawing/2014/main" id="{0F40B640-74B8-CCA1-2656-6BA110CD0646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9" name="Ellipse 208">
              <a:extLst>
                <a:ext uri="{FF2B5EF4-FFF2-40B4-BE49-F238E27FC236}">
                  <a16:creationId xmlns:a16="http://schemas.microsoft.com/office/drawing/2014/main" id="{8896FF4F-CCE7-23C8-27A4-E8BDB4173DF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0" name="Ellipse 209">
              <a:extLst>
                <a:ext uri="{FF2B5EF4-FFF2-40B4-BE49-F238E27FC236}">
                  <a16:creationId xmlns:a16="http://schemas.microsoft.com/office/drawing/2014/main" id="{2A97ADA3-C6C8-FAAD-F8AD-6295F694C586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1" name="Ellipse 210">
              <a:extLst>
                <a:ext uri="{FF2B5EF4-FFF2-40B4-BE49-F238E27FC236}">
                  <a16:creationId xmlns:a16="http://schemas.microsoft.com/office/drawing/2014/main" id="{57466C84-8AD8-DF2D-91F1-8326712E34B5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12" name="Ellipse 211">
              <a:extLst>
                <a:ext uri="{FF2B5EF4-FFF2-40B4-BE49-F238E27FC236}">
                  <a16:creationId xmlns:a16="http://schemas.microsoft.com/office/drawing/2014/main" id="{E3DAB40A-2662-A02C-390A-2B28602468BA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Ellipse 212">
              <a:extLst>
                <a:ext uri="{FF2B5EF4-FFF2-40B4-BE49-F238E27FC236}">
                  <a16:creationId xmlns:a16="http://schemas.microsoft.com/office/drawing/2014/main" id="{C145D525-51F1-5F3C-E087-167E76258964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4" name="Ellipse 213">
              <a:extLst>
                <a:ext uri="{FF2B5EF4-FFF2-40B4-BE49-F238E27FC236}">
                  <a16:creationId xmlns:a16="http://schemas.microsoft.com/office/drawing/2014/main" id="{A5DAC192-57E9-29C7-E2A5-F5BD6E8B035D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id="{BFC91CAF-20E3-F052-4F70-072CF705E0E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6" name="Ellipse 215">
              <a:extLst>
                <a:ext uri="{FF2B5EF4-FFF2-40B4-BE49-F238E27FC236}">
                  <a16:creationId xmlns:a16="http://schemas.microsoft.com/office/drawing/2014/main" id="{7D8D195D-78B6-081F-7908-53C2A1B58BA6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7" name="Ellipse 216">
              <a:extLst>
                <a:ext uri="{FF2B5EF4-FFF2-40B4-BE49-F238E27FC236}">
                  <a16:creationId xmlns:a16="http://schemas.microsoft.com/office/drawing/2014/main" id="{EA465AE4-973A-2831-8E9A-EC192374C1B9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18" name="Gruppieren 217">
            <a:extLst>
              <a:ext uri="{FF2B5EF4-FFF2-40B4-BE49-F238E27FC236}">
                <a16:creationId xmlns:a16="http://schemas.microsoft.com/office/drawing/2014/main" id="{5B53639B-E369-D164-B283-5BFAA8B76325}"/>
              </a:ext>
            </a:extLst>
          </p:cNvPr>
          <p:cNvGrpSpPr/>
          <p:nvPr/>
        </p:nvGrpSpPr>
        <p:grpSpPr>
          <a:xfrm>
            <a:off x="2088000" y="5688000"/>
            <a:ext cx="5904000" cy="144869"/>
            <a:chOff x="2088000" y="647192"/>
            <a:chExt cx="5904000" cy="144869"/>
          </a:xfrm>
        </p:grpSpPr>
        <p:sp>
          <p:nvSpPr>
            <p:cNvPr id="219" name="Ellipse 218">
              <a:extLst>
                <a:ext uri="{FF2B5EF4-FFF2-40B4-BE49-F238E27FC236}">
                  <a16:creationId xmlns:a16="http://schemas.microsoft.com/office/drawing/2014/main" id="{1CC7601F-7433-B94C-E94B-1F642FD49FB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0" name="Ellipse 219">
              <a:extLst>
                <a:ext uri="{FF2B5EF4-FFF2-40B4-BE49-F238E27FC236}">
                  <a16:creationId xmlns:a16="http://schemas.microsoft.com/office/drawing/2014/main" id="{FC7A58BE-FB2A-1A84-4FA7-39FD88791457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1" name="Ellipse 220">
              <a:extLst>
                <a:ext uri="{FF2B5EF4-FFF2-40B4-BE49-F238E27FC236}">
                  <a16:creationId xmlns:a16="http://schemas.microsoft.com/office/drawing/2014/main" id="{2759F50E-0D03-DABC-3AC4-92671EE63BB9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EBDDEF82-ACE8-9237-20B9-8D7AED61CBDC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3" name="Ellipse 222">
              <a:extLst>
                <a:ext uri="{FF2B5EF4-FFF2-40B4-BE49-F238E27FC236}">
                  <a16:creationId xmlns:a16="http://schemas.microsoft.com/office/drawing/2014/main" id="{00D0D9CA-4C6F-36F2-111A-55494063ACD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24" name="Ellipse 223">
              <a:extLst>
                <a:ext uri="{FF2B5EF4-FFF2-40B4-BE49-F238E27FC236}">
                  <a16:creationId xmlns:a16="http://schemas.microsoft.com/office/drawing/2014/main" id="{D90BB439-8550-C142-B1C6-E4E6EDE3EAA5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5" name="Ellipse 224">
              <a:extLst>
                <a:ext uri="{FF2B5EF4-FFF2-40B4-BE49-F238E27FC236}">
                  <a16:creationId xmlns:a16="http://schemas.microsoft.com/office/drawing/2014/main" id="{68342F5D-E9B0-53D0-80E1-ACBC9D4D7EE4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6" name="Ellipse 225">
              <a:extLst>
                <a:ext uri="{FF2B5EF4-FFF2-40B4-BE49-F238E27FC236}">
                  <a16:creationId xmlns:a16="http://schemas.microsoft.com/office/drawing/2014/main" id="{9B172288-1BE6-427F-45F8-4B6CD9642CAB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7" name="Ellipse 226">
              <a:extLst>
                <a:ext uri="{FF2B5EF4-FFF2-40B4-BE49-F238E27FC236}">
                  <a16:creationId xmlns:a16="http://schemas.microsoft.com/office/drawing/2014/main" id="{323F3730-0C95-A6D9-A98D-15956FA514A0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8" name="Ellipse 227">
              <a:extLst>
                <a:ext uri="{FF2B5EF4-FFF2-40B4-BE49-F238E27FC236}">
                  <a16:creationId xmlns:a16="http://schemas.microsoft.com/office/drawing/2014/main" id="{A3BE91EB-621E-72A7-3A5D-FA5875E58351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9" name="Ellipse 228">
              <a:extLst>
                <a:ext uri="{FF2B5EF4-FFF2-40B4-BE49-F238E27FC236}">
                  <a16:creationId xmlns:a16="http://schemas.microsoft.com/office/drawing/2014/main" id="{C3171CD2-EFEB-B7A1-108E-84DE25E8503A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0" name="Ellipse 229">
              <a:extLst>
                <a:ext uri="{FF2B5EF4-FFF2-40B4-BE49-F238E27FC236}">
                  <a16:creationId xmlns:a16="http://schemas.microsoft.com/office/drawing/2014/main" id="{DC9FD50C-B094-9614-A920-2FA7E73C8FA7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1" name="Ellipse 230">
              <a:extLst>
                <a:ext uri="{FF2B5EF4-FFF2-40B4-BE49-F238E27FC236}">
                  <a16:creationId xmlns:a16="http://schemas.microsoft.com/office/drawing/2014/main" id="{E3822817-7453-AEEC-C637-341A69747FEF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B30068A0-BD54-D2A5-5B5F-BBB31651C886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3" name="Ellipse 232">
              <a:extLst>
                <a:ext uri="{FF2B5EF4-FFF2-40B4-BE49-F238E27FC236}">
                  <a16:creationId xmlns:a16="http://schemas.microsoft.com/office/drawing/2014/main" id="{7BE95D7E-F6B2-CB91-20EF-7D3870A6D526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4" name="Ellipse 233">
              <a:extLst>
                <a:ext uri="{FF2B5EF4-FFF2-40B4-BE49-F238E27FC236}">
                  <a16:creationId xmlns:a16="http://schemas.microsoft.com/office/drawing/2014/main" id="{E06295AA-706A-C28A-BB6A-2C02C77CCE21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5" name="Ellipse 234">
              <a:extLst>
                <a:ext uri="{FF2B5EF4-FFF2-40B4-BE49-F238E27FC236}">
                  <a16:creationId xmlns:a16="http://schemas.microsoft.com/office/drawing/2014/main" id="{B00C47A6-697A-FE72-EFCF-02950310A032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36" name="Gruppieren 235">
            <a:extLst>
              <a:ext uri="{FF2B5EF4-FFF2-40B4-BE49-F238E27FC236}">
                <a16:creationId xmlns:a16="http://schemas.microsoft.com/office/drawing/2014/main" id="{FFBF4023-360F-E571-A2C0-026208BFA367}"/>
              </a:ext>
            </a:extLst>
          </p:cNvPr>
          <p:cNvGrpSpPr/>
          <p:nvPr/>
        </p:nvGrpSpPr>
        <p:grpSpPr>
          <a:xfrm>
            <a:off x="2088000" y="6408000"/>
            <a:ext cx="5904000" cy="144869"/>
            <a:chOff x="2088000" y="647192"/>
            <a:chExt cx="5904000" cy="144869"/>
          </a:xfrm>
        </p:grpSpPr>
        <p:sp>
          <p:nvSpPr>
            <p:cNvPr id="237" name="Ellipse 236">
              <a:extLst>
                <a:ext uri="{FF2B5EF4-FFF2-40B4-BE49-F238E27FC236}">
                  <a16:creationId xmlns:a16="http://schemas.microsoft.com/office/drawing/2014/main" id="{74CCC604-2F14-E14A-E88B-13CC3C3FE1AB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8" name="Ellipse 237">
              <a:extLst>
                <a:ext uri="{FF2B5EF4-FFF2-40B4-BE49-F238E27FC236}">
                  <a16:creationId xmlns:a16="http://schemas.microsoft.com/office/drawing/2014/main" id="{F9C60CD9-4EC4-4979-88AF-B822FA2FE269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9" name="Ellipse 238">
              <a:extLst>
                <a:ext uri="{FF2B5EF4-FFF2-40B4-BE49-F238E27FC236}">
                  <a16:creationId xmlns:a16="http://schemas.microsoft.com/office/drawing/2014/main" id="{A19AD9B0-3A2C-F1F2-B49D-9727FF3EA0ED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CFFEC520-4F5A-78EF-4485-6ADBD553A5D1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1" name="Ellipse 240">
              <a:extLst>
                <a:ext uri="{FF2B5EF4-FFF2-40B4-BE49-F238E27FC236}">
                  <a16:creationId xmlns:a16="http://schemas.microsoft.com/office/drawing/2014/main" id="{9000971E-30B0-8493-878E-3723A136EE1B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19B2ADD1-31EE-B2A9-986B-52B979E5CB91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3" name="Ellipse 242">
              <a:extLst>
                <a:ext uri="{FF2B5EF4-FFF2-40B4-BE49-F238E27FC236}">
                  <a16:creationId xmlns:a16="http://schemas.microsoft.com/office/drawing/2014/main" id="{AD97104A-9A83-66A4-E774-FF029A54AD41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4" name="Ellipse 243">
              <a:extLst>
                <a:ext uri="{FF2B5EF4-FFF2-40B4-BE49-F238E27FC236}">
                  <a16:creationId xmlns:a16="http://schemas.microsoft.com/office/drawing/2014/main" id="{27913966-3F9B-9ECB-0E4A-FC1E6414EFDB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5" name="Ellipse 244">
              <a:extLst>
                <a:ext uri="{FF2B5EF4-FFF2-40B4-BE49-F238E27FC236}">
                  <a16:creationId xmlns:a16="http://schemas.microsoft.com/office/drawing/2014/main" id="{781E05EC-64AF-572A-2A6C-E5C589F6A1A3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6" name="Ellipse 245">
              <a:extLst>
                <a:ext uri="{FF2B5EF4-FFF2-40B4-BE49-F238E27FC236}">
                  <a16:creationId xmlns:a16="http://schemas.microsoft.com/office/drawing/2014/main" id="{C2B0B106-422D-65DE-EF69-53350DE1D641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7" name="Ellipse 246">
              <a:extLst>
                <a:ext uri="{FF2B5EF4-FFF2-40B4-BE49-F238E27FC236}">
                  <a16:creationId xmlns:a16="http://schemas.microsoft.com/office/drawing/2014/main" id="{4DC0CDD0-8953-3BD6-2D1C-59717AF8CEB8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8" name="Ellipse 247">
              <a:extLst>
                <a:ext uri="{FF2B5EF4-FFF2-40B4-BE49-F238E27FC236}">
                  <a16:creationId xmlns:a16="http://schemas.microsoft.com/office/drawing/2014/main" id="{F117FD0F-CC58-512A-02D7-C941193A5B64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9" name="Ellipse 248">
              <a:extLst>
                <a:ext uri="{FF2B5EF4-FFF2-40B4-BE49-F238E27FC236}">
                  <a16:creationId xmlns:a16="http://schemas.microsoft.com/office/drawing/2014/main" id="{F170E3A9-342C-2658-EE8A-290B66354703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0" name="Ellipse 249">
              <a:extLst>
                <a:ext uri="{FF2B5EF4-FFF2-40B4-BE49-F238E27FC236}">
                  <a16:creationId xmlns:a16="http://schemas.microsoft.com/office/drawing/2014/main" id="{CDF1DB94-EE9E-6179-8387-72EB11880774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1" name="Ellipse 250">
              <a:extLst>
                <a:ext uri="{FF2B5EF4-FFF2-40B4-BE49-F238E27FC236}">
                  <a16:creationId xmlns:a16="http://schemas.microsoft.com/office/drawing/2014/main" id="{0FC81F3D-13DE-FAA3-E4D9-EA9837F5497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2" name="Ellipse 251">
              <a:extLst>
                <a:ext uri="{FF2B5EF4-FFF2-40B4-BE49-F238E27FC236}">
                  <a16:creationId xmlns:a16="http://schemas.microsoft.com/office/drawing/2014/main" id="{C780D082-6AC1-BA2E-DCA3-976E98553963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3" name="Ellipse 252">
              <a:extLst>
                <a:ext uri="{FF2B5EF4-FFF2-40B4-BE49-F238E27FC236}">
                  <a16:creationId xmlns:a16="http://schemas.microsoft.com/office/drawing/2014/main" id="{5975EF1F-5EDD-ACC9-3AE3-D9E348C833AD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6362C588-013F-7063-A2E8-E54B01ACEA11}"/>
              </a:ext>
            </a:extLst>
          </p:cNvPr>
          <p:cNvGrpSpPr/>
          <p:nvPr/>
        </p:nvGrpSpPr>
        <p:grpSpPr>
          <a:xfrm>
            <a:off x="2088000" y="3888000"/>
            <a:ext cx="5904000" cy="144869"/>
            <a:chOff x="2088000" y="647192"/>
            <a:chExt cx="5904000" cy="144869"/>
          </a:xfrm>
        </p:grpSpPr>
        <p:sp>
          <p:nvSpPr>
            <p:cNvPr id="255" name="Ellipse 254">
              <a:extLst>
                <a:ext uri="{FF2B5EF4-FFF2-40B4-BE49-F238E27FC236}">
                  <a16:creationId xmlns:a16="http://schemas.microsoft.com/office/drawing/2014/main" id="{CB716C5D-8B89-8633-6931-BBD309124BB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6" name="Ellipse 255">
              <a:extLst>
                <a:ext uri="{FF2B5EF4-FFF2-40B4-BE49-F238E27FC236}">
                  <a16:creationId xmlns:a16="http://schemas.microsoft.com/office/drawing/2014/main" id="{52492A59-4C62-21DE-CED1-AF98B54471B6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7" name="Ellipse 256">
              <a:extLst>
                <a:ext uri="{FF2B5EF4-FFF2-40B4-BE49-F238E27FC236}">
                  <a16:creationId xmlns:a16="http://schemas.microsoft.com/office/drawing/2014/main" id="{EEF98DA4-CE9C-9F66-EA9A-CAF5B89144DD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8" name="Ellipse 257">
              <a:extLst>
                <a:ext uri="{FF2B5EF4-FFF2-40B4-BE49-F238E27FC236}">
                  <a16:creationId xmlns:a16="http://schemas.microsoft.com/office/drawing/2014/main" id="{61ECAD95-4044-4454-769E-AC8F711BC2DB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9" name="Ellipse 258">
              <a:extLst>
                <a:ext uri="{FF2B5EF4-FFF2-40B4-BE49-F238E27FC236}">
                  <a16:creationId xmlns:a16="http://schemas.microsoft.com/office/drawing/2014/main" id="{D75ACE51-8F6D-C7C1-7A4B-CC910C24E82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0" name="Ellipse 259">
              <a:extLst>
                <a:ext uri="{FF2B5EF4-FFF2-40B4-BE49-F238E27FC236}">
                  <a16:creationId xmlns:a16="http://schemas.microsoft.com/office/drawing/2014/main" id="{B005A3CB-16F8-3AF5-84A8-4CE23B78BE9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1" name="Ellipse 260">
              <a:extLst>
                <a:ext uri="{FF2B5EF4-FFF2-40B4-BE49-F238E27FC236}">
                  <a16:creationId xmlns:a16="http://schemas.microsoft.com/office/drawing/2014/main" id="{43EE88F7-38A9-7AED-1639-ADE5ABE15E03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2" name="Ellipse 261">
              <a:extLst>
                <a:ext uri="{FF2B5EF4-FFF2-40B4-BE49-F238E27FC236}">
                  <a16:creationId xmlns:a16="http://schemas.microsoft.com/office/drawing/2014/main" id="{3F8EF45F-976A-21D1-6946-1A9D1022035C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3" name="Ellipse 262">
              <a:extLst>
                <a:ext uri="{FF2B5EF4-FFF2-40B4-BE49-F238E27FC236}">
                  <a16:creationId xmlns:a16="http://schemas.microsoft.com/office/drawing/2014/main" id="{6614B559-08BB-CB9D-32E9-969FE77839FA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4" name="Ellipse 263">
              <a:extLst>
                <a:ext uri="{FF2B5EF4-FFF2-40B4-BE49-F238E27FC236}">
                  <a16:creationId xmlns:a16="http://schemas.microsoft.com/office/drawing/2014/main" id="{34AAB716-D669-CE98-7798-BCB53EE663E3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5" name="Ellipse 264">
              <a:extLst>
                <a:ext uri="{FF2B5EF4-FFF2-40B4-BE49-F238E27FC236}">
                  <a16:creationId xmlns:a16="http://schemas.microsoft.com/office/drawing/2014/main" id="{A8839410-54B8-EB3B-9EB4-78E200920BAA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6" name="Ellipse 265">
              <a:extLst>
                <a:ext uri="{FF2B5EF4-FFF2-40B4-BE49-F238E27FC236}">
                  <a16:creationId xmlns:a16="http://schemas.microsoft.com/office/drawing/2014/main" id="{65C2A82B-7BAE-540B-90FD-38FFDBD38748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7" name="Ellipse 266">
              <a:extLst>
                <a:ext uri="{FF2B5EF4-FFF2-40B4-BE49-F238E27FC236}">
                  <a16:creationId xmlns:a16="http://schemas.microsoft.com/office/drawing/2014/main" id="{70AB19A2-D2D6-810B-45F3-1AEAE16D2F61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8" name="Ellipse 267">
              <a:extLst>
                <a:ext uri="{FF2B5EF4-FFF2-40B4-BE49-F238E27FC236}">
                  <a16:creationId xmlns:a16="http://schemas.microsoft.com/office/drawing/2014/main" id="{DB2CA474-F81C-D61B-CA51-A4F12E779AA4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9" name="Ellipse 268">
              <a:extLst>
                <a:ext uri="{FF2B5EF4-FFF2-40B4-BE49-F238E27FC236}">
                  <a16:creationId xmlns:a16="http://schemas.microsoft.com/office/drawing/2014/main" id="{D1D31BCC-7FE6-956D-2CB9-22C5A2EC6495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0" name="Ellipse 269">
              <a:extLst>
                <a:ext uri="{FF2B5EF4-FFF2-40B4-BE49-F238E27FC236}">
                  <a16:creationId xmlns:a16="http://schemas.microsoft.com/office/drawing/2014/main" id="{D25CA678-CE55-A0AC-F5BE-3FE7A7C8A215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1" name="Ellipse 270">
              <a:extLst>
                <a:ext uri="{FF2B5EF4-FFF2-40B4-BE49-F238E27FC236}">
                  <a16:creationId xmlns:a16="http://schemas.microsoft.com/office/drawing/2014/main" id="{3F1E8C48-17AC-C3C5-BACF-453C4729FA54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2" name="Gruppieren 271">
            <a:extLst>
              <a:ext uri="{FF2B5EF4-FFF2-40B4-BE49-F238E27FC236}">
                <a16:creationId xmlns:a16="http://schemas.microsoft.com/office/drawing/2014/main" id="{2BF1EE18-EC67-0104-FAB1-28C27DAE3457}"/>
              </a:ext>
            </a:extLst>
          </p:cNvPr>
          <p:cNvGrpSpPr/>
          <p:nvPr/>
        </p:nvGrpSpPr>
        <p:grpSpPr>
          <a:xfrm>
            <a:off x="2088000" y="4248000"/>
            <a:ext cx="5904000" cy="144869"/>
            <a:chOff x="2088000" y="647192"/>
            <a:chExt cx="5904000" cy="144869"/>
          </a:xfrm>
        </p:grpSpPr>
        <p:sp>
          <p:nvSpPr>
            <p:cNvPr id="273" name="Ellipse 272">
              <a:extLst>
                <a:ext uri="{FF2B5EF4-FFF2-40B4-BE49-F238E27FC236}">
                  <a16:creationId xmlns:a16="http://schemas.microsoft.com/office/drawing/2014/main" id="{6759FD88-FAC0-FEA5-F03D-9E2EF7BC867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4" name="Ellipse 273">
              <a:extLst>
                <a:ext uri="{FF2B5EF4-FFF2-40B4-BE49-F238E27FC236}">
                  <a16:creationId xmlns:a16="http://schemas.microsoft.com/office/drawing/2014/main" id="{F460A8D0-5437-D97D-1D43-02F1319DC2BB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5" name="Ellipse 274">
              <a:extLst>
                <a:ext uri="{FF2B5EF4-FFF2-40B4-BE49-F238E27FC236}">
                  <a16:creationId xmlns:a16="http://schemas.microsoft.com/office/drawing/2014/main" id="{CCF1B410-98BF-1CB6-62B6-35D097F2A471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6" name="Ellipse 275">
              <a:extLst>
                <a:ext uri="{FF2B5EF4-FFF2-40B4-BE49-F238E27FC236}">
                  <a16:creationId xmlns:a16="http://schemas.microsoft.com/office/drawing/2014/main" id="{C0F36171-7C05-429A-C581-A67A374340CC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7" name="Ellipse 276">
              <a:extLst>
                <a:ext uri="{FF2B5EF4-FFF2-40B4-BE49-F238E27FC236}">
                  <a16:creationId xmlns:a16="http://schemas.microsoft.com/office/drawing/2014/main" id="{D8C7B2FE-E87B-9C75-500E-212F7F480ECF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78" name="Ellipse 277">
              <a:extLst>
                <a:ext uri="{FF2B5EF4-FFF2-40B4-BE49-F238E27FC236}">
                  <a16:creationId xmlns:a16="http://schemas.microsoft.com/office/drawing/2014/main" id="{7EE74FD4-133E-F673-49EE-626DF5AF4CB4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9" name="Ellipse 278">
              <a:extLst>
                <a:ext uri="{FF2B5EF4-FFF2-40B4-BE49-F238E27FC236}">
                  <a16:creationId xmlns:a16="http://schemas.microsoft.com/office/drawing/2014/main" id="{BBF40BD9-0EAD-CC6A-FE65-4C3A5A07CE39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0" name="Ellipse 279">
              <a:extLst>
                <a:ext uri="{FF2B5EF4-FFF2-40B4-BE49-F238E27FC236}">
                  <a16:creationId xmlns:a16="http://schemas.microsoft.com/office/drawing/2014/main" id="{BC7FB7E5-792E-0B2F-D455-FC038E055362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1" name="Ellipse 280">
              <a:extLst>
                <a:ext uri="{FF2B5EF4-FFF2-40B4-BE49-F238E27FC236}">
                  <a16:creationId xmlns:a16="http://schemas.microsoft.com/office/drawing/2014/main" id="{3C8B2FB5-CDB1-02C3-8A11-78323CD115B0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2" name="Ellipse 281">
              <a:extLst>
                <a:ext uri="{FF2B5EF4-FFF2-40B4-BE49-F238E27FC236}">
                  <a16:creationId xmlns:a16="http://schemas.microsoft.com/office/drawing/2014/main" id="{68EC514F-8642-08B9-FDF5-4496E24C0A3B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3" name="Ellipse 282">
              <a:extLst>
                <a:ext uri="{FF2B5EF4-FFF2-40B4-BE49-F238E27FC236}">
                  <a16:creationId xmlns:a16="http://schemas.microsoft.com/office/drawing/2014/main" id="{20B084D7-9ECF-EF64-1610-FC17291D5884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58007133-34BF-CCE0-4748-3485147A8E7C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5" name="Ellipse 284">
              <a:extLst>
                <a:ext uri="{FF2B5EF4-FFF2-40B4-BE49-F238E27FC236}">
                  <a16:creationId xmlns:a16="http://schemas.microsoft.com/office/drawing/2014/main" id="{9F52DDCF-3499-622D-1A16-11C014D0567E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6" name="Ellipse 285">
              <a:extLst>
                <a:ext uri="{FF2B5EF4-FFF2-40B4-BE49-F238E27FC236}">
                  <a16:creationId xmlns:a16="http://schemas.microsoft.com/office/drawing/2014/main" id="{A49878E9-22BC-2DB5-0D5B-7B3A127EDD43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7" name="Ellipse 286">
              <a:extLst>
                <a:ext uri="{FF2B5EF4-FFF2-40B4-BE49-F238E27FC236}">
                  <a16:creationId xmlns:a16="http://schemas.microsoft.com/office/drawing/2014/main" id="{074DA180-EC41-2FA0-2649-46978C4E50C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8" name="Ellipse 287">
              <a:extLst>
                <a:ext uri="{FF2B5EF4-FFF2-40B4-BE49-F238E27FC236}">
                  <a16:creationId xmlns:a16="http://schemas.microsoft.com/office/drawing/2014/main" id="{D19E160B-B274-A0FF-71C2-1789347815D2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9" name="Ellipse 288">
              <a:extLst>
                <a:ext uri="{FF2B5EF4-FFF2-40B4-BE49-F238E27FC236}">
                  <a16:creationId xmlns:a16="http://schemas.microsoft.com/office/drawing/2014/main" id="{C860B015-8DEF-E128-E527-9D358366AE5F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90" name="Gruppieren 289">
            <a:extLst>
              <a:ext uri="{FF2B5EF4-FFF2-40B4-BE49-F238E27FC236}">
                <a16:creationId xmlns:a16="http://schemas.microsoft.com/office/drawing/2014/main" id="{F7D1CC0D-9380-9819-F1A9-D5B08525F945}"/>
              </a:ext>
            </a:extLst>
          </p:cNvPr>
          <p:cNvGrpSpPr/>
          <p:nvPr/>
        </p:nvGrpSpPr>
        <p:grpSpPr>
          <a:xfrm>
            <a:off x="2088000" y="4608000"/>
            <a:ext cx="5904000" cy="144869"/>
            <a:chOff x="2088000" y="647192"/>
            <a:chExt cx="5904000" cy="144869"/>
          </a:xfrm>
        </p:grpSpPr>
        <p:sp>
          <p:nvSpPr>
            <p:cNvPr id="291" name="Ellipse 290">
              <a:extLst>
                <a:ext uri="{FF2B5EF4-FFF2-40B4-BE49-F238E27FC236}">
                  <a16:creationId xmlns:a16="http://schemas.microsoft.com/office/drawing/2014/main" id="{14C6B556-DA18-EB89-1C80-7579DD36604D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2" name="Ellipse 291">
              <a:extLst>
                <a:ext uri="{FF2B5EF4-FFF2-40B4-BE49-F238E27FC236}">
                  <a16:creationId xmlns:a16="http://schemas.microsoft.com/office/drawing/2014/main" id="{8728C402-8200-FE9B-99A0-D9D18560B46B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3" name="Ellipse 292">
              <a:extLst>
                <a:ext uri="{FF2B5EF4-FFF2-40B4-BE49-F238E27FC236}">
                  <a16:creationId xmlns:a16="http://schemas.microsoft.com/office/drawing/2014/main" id="{96186302-4939-4080-9FCA-541046BA3870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4" name="Ellipse 293">
              <a:extLst>
                <a:ext uri="{FF2B5EF4-FFF2-40B4-BE49-F238E27FC236}">
                  <a16:creationId xmlns:a16="http://schemas.microsoft.com/office/drawing/2014/main" id="{5B3E7FCF-2C1B-9AAD-AF6C-1C328B2434CB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5" name="Ellipse 294">
              <a:extLst>
                <a:ext uri="{FF2B5EF4-FFF2-40B4-BE49-F238E27FC236}">
                  <a16:creationId xmlns:a16="http://schemas.microsoft.com/office/drawing/2014/main" id="{CC03FADE-A019-4CA2-AFCD-283A53011354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4A63797F-4AE6-87A8-8D05-05CFB9BD28BF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7" name="Ellipse 296">
              <a:extLst>
                <a:ext uri="{FF2B5EF4-FFF2-40B4-BE49-F238E27FC236}">
                  <a16:creationId xmlns:a16="http://schemas.microsoft.com/office/drawing/2014/main" id="{0A69709F-A915-B0BC-D736-EFF3AD78DCD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8" name="Ellipse 297">
              <a:extLst>
                <a:ext uri="{FF2B5EF4-FFF2-40B4-BE49-F238E27FC236}">
                  <a16:creationId xmlns:a16="http://schemas.microsoft.com/office/drawing/2014/main" id="{CB7E71E2-9139-0FBD-B9E8-EC24F42DB58F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9" name="Ellipse 298">
              <a:extLst>
                <a:ext uri="{FF2B5EF4-FFF2-40B4-BE49-F238E27FC236}">
                  <a16:creationId xmlns:a16="http://schemas.microsoft.com/office/drawing/2014/main" id="{17062B39-84EE-CA66-2F8A-4DE33A3FF707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0" name="Ellipse 299">
              <a:extLst>
                <a:ext uri="{FF2B5EF4-FFF2-40B4-BE49-F238E27FC236}">
                  <a16:creationId xmlns:a16="http://schemas.microsoft.com/office/drawing/2014/main" id="{B9B18E37-7E1D-7942-F099-3E2B72D8CFC2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1" name="Ellipse 300">
              <a:extLst>
                <a:ext uri="{FF2B5EF4-FFF2-40B4-BE49-F238E27FC236}">
                  <a16:creationId xmlns:a16="http://schemas.microsoft.com/office/drawing/2014/main" id="{CA71A164-1D0E-699C-DB12-24585A2536D6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02" name="Ellipse 301">
              <a:extLst>
                <a:ext uri="{FF2B5EF4-FFF2-40B4-BE49-F238E27FC236}">
                  <a16:creationId xmlns:a16="http://schemas.microsoft.com/office/drawing/2014/main" id="{E298D670-EB1A-F0E6-C5BB-838902802FEE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3" name="Ellipse 302">
              <a:extLst>
                <a:ext uri="{FF2B5EF4-FFF2-40B4-BE49-F238E27FC236}">
                  <a16:creationId xmlns:a16="http://schemas.microsoft.com/office/drawing/2014/main" id="{6E707B5E-44EE-B468-9505-94A43237CF50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A51D9010-AE66-9337-26DA-2FB11E98332C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5" name="Ellipse 304">
              <a:extLst>
                <a:ext uri="{FF2B5EF4-FFF2-40B4-BE49-F238E27FC236}">
                  <a16:creationId xmlns:a16="http://schemas.microsoft.com/office/drawing/2014/main" id="{AA4BD21E-FBF9-B6DB-0FFE-B6F01420993A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6" name="Ellipse 305">
              <a:extLst>
                <a:ext uri="{FF2B5EF4-FFF2-40B4-BE49-F238E27FC236}">
                  <a16:creationId xmlns:a16="http://schemas.microsoft.com/office/drawing/2014/main" id="{CBF262E2-7310-6324-6181-4C9C8C27C0FC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7" name="Ellipse 306">
              <a:extLst>
                <a:ext uri="{FF2B5EF4-FFF2-40B4-BE49-F238E27FC236}">
                  <a16:creationId xmlns:a16="http://schemas.microsoft.com/office/drawing/2014/main" id="{8C335547-B9D7-14A3-42A2-92046BF792F8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08" name="Gruppieren 307">
            <a:extLst>
              <a:ext uri="{FF2B5EF4-FFF2-40B4-BE49-F238E27FC236}">
                <a16:creationId xmlns:a16="http://schemas.microsoft.com/office/drawing/2014/main" id="{F67BB7FC-21DC-EC11-1437-9CAACF95B89C}"/>
              </a:ext>
            </a:extLst>
          </p:cNvPr>
          <p:cNvGrpSpPr/>
          <p:nvPr/>
        </p:nvGrpSpPr>
        <p:grpSpPr>
          <a:xfrm>
            <a:off x="2088000" y="3168000"/>
            <a:ext cx="5904000" cy="144869"/>
            <a:chOff x="2088000" y="647192"/>
            <a:chExt cx="5904000" cy="144869"/>
          </a:xfrm>
        </p:grpSpPr>
        <p:sp>
          <p:nvSpPr>
            <p:cNvPr id="309" name="Ellipse 308">
              <a:extLst>
                <a:ext uri="{FF2B5EF4-FFF2-40B4-BE49-F238E27FC236}">
                  <a16:creationId xmlns:a16="http://schemas.microsoft.com/office/drawing/2014/main" id="{5EBEEC3A-29B4-690E-7D92-863DA0C73821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0" name="Ellipse 309">
              <a:extLst>
                <a:ext uri="{FF2B5EF4-FFF2-40B4-BE49-F238E27FC236}">
                  <a16:creationId xmlns:a16="http://schemas.microsoft.com/office/drawing/2014/main" id="{AF4673A6-F8EE-0FD4-432D-33865181471E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1" name="Ellipse 310">
              <a:extLst>
                <a:ext uri="{FF2B5EF4-FFF2-40B4-BE49-F238E27FC236}">
                  <a16:creationId xmlns:a16="http://schemas.microsoft.com/office/drawing/2014/main" id="{428FD6A7-1FBC-CEFB-9F70-18BF3C772A83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2" name="Ellipse 311">
              <a:extLst>
                <a:ext uri="{FF2B5EF4-FFF2-40B4-BE49-F238E27FC236}">
                  <a16:creationId xmlns:a16="http://schemas.microsoft.com/office/drawing/2014/main" id="{37DDB2B8-FD53-E292-BB93-FACA8359DC71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3" name="Ellipse 312">
              <a:extLst>
                <a:ext uri="{FF2B5EF4-FFF2-40B4-BE49-F238E27FC236}">
                  <a16:creationId xmlns:a16="http://schemas.microsoft.com/office/drawing/2014/main" id="{89D089F0-A7F6-97A4-51DA-62CE0563A1C2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669ACB20-479B-D44C-D60F-E9F94FE3427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5" name="Ellipse 314">
              <a:extLst>
                <a:ext uri="{FF2B5EF4-FFF2-40B4-BE49-F238E27FC236}">
                  <a16:creationId xmlns:a16="http://schemas.microsoft.com/office/drawing/2014/main" id="{90192CAC-602F-26FA-3BBC-6F1A10FF8331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6" name="Ellipse 315">
              <a:extLst>
                <a:ext uri="{FF2B5EF4-FFF2-40B4-BE49-F238E27FC236}">
                  <a16:creationId xmlns:a16="http://schemas.microsoft.com/office/drawing/2014/main" id="{C632AF63-8ED5-40C8-C282-CC13A1B0F98D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7" name="Ellipse 316">
              <a:extLst>
                <a:ext uri="{FF2B5EF4-FFF2-40B4-BE49-F238E27FC236}">
                  <a16:creationId xmlns:a16="http://schemas.microsoft.com/office/drawing/2014/main" id="{55BCBB51-9508-C0C1-FC6E-7F4B2E3A721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8" name="Ellipse 317">
              <a:extLst>
                <a:ext uri="{FF2B5EF4-FFF2-40B4-BE49-F238E27FC236}">
                  <a16:creationId xmlns:a16="http://schemas.microsoft.com/office/drawing/2014/main" id="{9F8D9558-885A-8B67-9EBF-31A477F65FBA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9" name="Ellipse 318">
              <a:extLst>
                <a:ext uri="{FF2B5EF4-FFF2-40B4-BE49-F238E27FC236}">
                  <a16:creationId xmlns:a16="http://schemas.microsoft.com/office/drawing/2014/main" id="{12C7FE4E-6871-B25F-11B6-910E550EBE71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20" name="Ellipse 319">
              <a:extLst>
                <a:ext uri="{FF2B5EF4-FFF2-40B4-BE49-F238E27FC236}">
                  <a16:creationId xmlns:a16="http://schemas.microsoft.com/office/drawing/2014/main" id="{5CC08841-F6E7-261C-B2BD-4069F5BBC6B9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86E3CA58-F9D6-FC65-A286-DA83EBD5BA61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2" name="Ellipse 321">
              <a:extLst>
                <a:ext uri="{FF2B5EF4-FFF2-40B4-BE49-F238E27FC236}">
                  <a16:creationId xmlns:a16="http://schemas.microsoft.com/office/drawing/2014/main" id="{F6451AB9-C3EF-BE6D-7879-128018A504B8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3" name="Ellipse 322">
              <a:extLst>
                <a:ext uri="{FF2B5EF4-FFF2-40B4-BE49-F238E27FC236}">
                  <a16:creationId xmlns:a16="http://schemas.microsoft.com/office/drawing/2014/main" id="{AA99CC9D-8011-25D9-77C6-4F94CAE5DEA7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24" name="Ellipse 323">
              <a:extLst>
                <a:ext uri="{FF2B5EF4-FFF2-40B4-BE49-F238E27FC236}">
                  <a16:creationId xmlns:a16="http://schemas.microsoft.com/office/drawing/2014/main" id="{777F876E-2CA6-4EB4-4F7A-4F3284DA67BE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5" name="Ellipse 324">
              <a:extLst>
                <a:ext uri="{FF2B5EF4-FFF2-40B4-BE49-F238E27FC236}">
                  <a16:creationId xmlns:a16="http://schemas.microsoft.com/office/drawing/2014/main" id="{7E157F88-686E-776A-D631-C603A3BC967C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6" name="Gruppieren 325">
            <a:extLst>
              <a:ext uri="{FF2B5EF4-FFF2-40B4-BE49-F238E27FC236}">
                <a16:creationId xmlns:a16="http://schemas.microsoft.com/office/drawing/2014/main" id="{4512031F-F90F-7F61-02B6-9DE1F6DCD734}"/>
              </a:ext>
            </a:extLst>
          </p:cNvPr>
          <p:cNvGrpSpPr/>
          <p:nvPr/>
        </p:nvGrpSpPr>
        <p:grpSpPr>
          <a:xfrm>
            <a:off x="2088000" y="3528000"/>
            <a:ext cx="5904000" cy="144869"/>
            <a:chOff x="2088000" y="647192"/>
            <a:chExt cx="5904000" cy="144869"/>
          </a:xfrm>
        </p:grpSpPr>
        <p:sp>
          <p:nvSpPr>
            <p:cNvPr id="327" name="Ellipse 326">
              <a:extLst>
                <a:ext uri="{FF2B5EF4-FFF2-40B4-BE49-F238E27FC236}">
                  <a16:creationId xmlns:a16="http://schemas.microsoft.com/office/drawing/2014/main" id="{379B470D-D268-75A9-D1E6-B62A26A30B26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8" name="Ellipse 327">
              <a:extLst>
                <a:ext uri="{FF2B5EF4-FFF2-40B4-BE49-F238E27FC236}">
                  <a16:creationId xmlns:a16="http://schemas.microsoft.com/office/drawing/2014/main" id="{8337427D-5A60-9D2D-3D14-13062122FCA0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Ellipse 328">
              <a:extLst>
                <a:ext uri="{FF2B5EF4-FFF2-40B4-BE49-F238E27FC236}">
                  <a16:creationId xmlns:a16="http://schemas.microsoft.com/office/drawing/2014/main" id="{BDB74032-F297-C734-C09F-A88B428718C1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Ellipse 329">
              <a:extLst>
                <a:ext uri="{FF2B5EF4-FFF2-40B4-BE49-F238E27FC236}">
                  <a16:creationId xmlns:a16="http://schemas.microsoft.com/office/drawing/2014/main" id="{BD2BE1CD-1059-EF42-D832-085A5EC0AEA0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8E39FC6B-533A-89EA-AF4C-D087DABC3BDA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2" name="Ellipse 331">
              <a:extLst>
                <a:ext uri="{FF2B5EF4-FFF2-40B4-BE49-F238E27FC236}">
                  <a16:creationId xmlns:a16="http://schemas.microsoft.com/office/drawing/2014/main" id="{71D0EE69-92EF-22D0-9451-DEDD3C5B276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3" name="Ellipse 332">
              <a:extLst>
                <a:ext uri="{FF2B5EF4-FFF2-40B4-BE49-F238E27FC236}">
                  <a16:creationId xmlns:a16="http://schemas.microsoft.com/office/drawing/2014/main" id="{A535E138-08C2-3B51-7DDF-0ADA37535F38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4" name="Ellipse 333">
              <a:extLst>
                <a:ext uri="{FF2B5EF4-FFF2-40B4-BE49-F238E27FC236}">
                  <a16:creationId xmlns:a16="http://schemas.microsoft.com/office/drawing/2014/main" id="{2D811E40-F217-9223-E4A0-93F01942ED43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5" name="Ellipse 334">
              <a:extLst>
                <a:ext uri="{FF2B5EF4-FFF2-40B4-BE49-F238E27FC236}">
                  <a16:creationId xmlns:a16="http://schemas.microsoft.com/office/drawing/2014/main" id="{8F9E2C45-F4D1-517B-402B-FC155E7B927B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6" name="Ellipse 335">
              <a:extLst>
                <a:ext uri="{FF2B5EF4-FFF2-40B4-BE49-F238E27FC236}">
                  <a16:creationId xmlns:a16="http://schemas.microsoft.com/office/drawing/2014/main" id="{2F8A297E-442E-6E8E-2F3F-B8C64F24D46E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7" name="Ellipse 336">
              <a:extLst>
                <a:ext uri="{FF2B5EF4-FFF2-40B4-BE49-F238E27FC236}">
                  <a16:creationId xmlns:a16="http://schemas.microsoft.com/office/drawing/2014/main" id="{DAAF21BE-1358-3EA0-0618-E61A8665827F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8" name="Ellipse 337">
              <a:extLst>
                <a:ext uri="{FF2B5EF4-FFF2-40B4-BE49-F238E27FC236}">
                  <a16:creationId xmlns:a16="http://schemas.microsoft.com/office/drawing/2014/main" id="{02127D00-809C-C649-0102-1FFBE170F9C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9" name="Ellipse 338">
              <a:extLst>
                <a:ext uri="{FF2B5EF4-FFF2-40B4-BE49-F238E27FC236}">
                  <a16:creationId xmlns:a16="http://schemas.microsoft.com/office/drawing/2014/main" id="{3A03A07C-6C8B-BA90-FFF2-F37AC07D10A2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0" name="Ellipse 339">
              <a:extLst>
                <a:ext uri="{FF2B5EF4-FFF2-40B4-BE49-F238E27FC236}">
                  <a16:creationId xmlns:a16="http://schemas.microsoft.com/office/drawing/2014/main" id="{E89C395F-35DD-EEB6-A1DE-02CF61D351E3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1" name="Ellipse 340">
              <a:extLst>
                <a:ext uri="{FF2B5EF4-FFF2-40B4-BE49-F238E27FC236}">
                  <a16:creationId xmlns:a16="http://schemas.microsoft.com/office/drawing/2014/main" id="{BE7C5552-6AD5-6A71-43E0-1644395C09E4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2" name="Ellipse 341">
              <a:extLst>
                <a:ext uri="{FF2B5EF4-FFF2-40B4-BE49-F238E27FC236}">
                  <a16:creationId xmlns:a16="http://schemas.microsoft.com/office/drawing/2014/main" id="{3CF635BB-D99B-DD1E-DB9C-19404F352C26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91C269DE-B154-6089-35A6-BDDF3A12B9FD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44" name="Rechteck 343">
            <a:extLst>
              <a:ext uri="{FF2B5EF4-FFF2-40B4-BE49-F238E27FC236}">
                <a16:creationId xmlns:a16="http://schemas.microsoft.com/office/drawing/2014/main" id="{EE6BEE7F-F766-AC9F-20C4-8858E581E514}"/>
              </a:ext>
            </a:extLst>
          </p:cNvPr>
          <p:cNvSpPr/>
          <p:nvPr/>
        </p:nvSpPr>
        <p:spPr>
          <a:xfrm>
            <a:off x="2941200" y="16812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B84DE015-6FE6-7414-9004-B4026256C203}"/>
              </a:ext>
            </a:extLst>
          </p:cNvPr>
          <p:cNvSpPr/>
          <p:nvPr/>
        </p:nvSpPr>
        <p:spPr>
          <a:xfrm>
            <a:off x="4856400" y="16812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8EC25BFA-6950-903B-5060-0C81A404F0D8}"/>
              </a:ext>
            </a:extLst>
          </p:cNvPr>
          <p:cNvSpPr/>
          <p:nvPr/>
        </p:nvSpPr>
        <p:spPr>
          <a:xfrm>
            <a:off x="6778800" y="16812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B25D8005-0AD9-55CC-8B7F-B575B1C4FC0E}"/>
              </a:ext>
            </a:extLst>
          </p:cNvPr>
          <p:cNvSpPr/>
          <p:nvPr/>
        </p:nvSpPr>
        <p:spPr>
          <a:xfrm>
            <a:off x="2941200" y="34164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4</a:t>
            </a: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9BE07C61-5D1A-6811-90F8-C14B10278EED}"/>
              </a:ext>
            </a:extLst>
          </p:cNvPr>
          <p:cNvSpPr/>
          <p:nvPr/>
        </p:nvSpPr>
        <p:spPr>
          <a:xfrm>
            <a:off x="2941200" y="53388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7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0B39092C-CA9C-89C1-6461-2EB9B8FEBEE5}"/>
              </a:ext>
            </a:extLst>
          </p:cNvPr>
          <p:cNvSpPr/>
          <p:nvPr/>
        </p:nvSpPr>
        <p:spPr>
          <a:xfrm>
            <a:off x="4856400" y="34164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5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25BF31E3-AECF-E40F-F7BD-EFDAAEA50A62}"/>
              </a:ext>
            </a:extLst>
          </p:cNvPr>
          <p:cNvSpPr/>
          <p:nvPr/>
        </p:nvSpPr>
        <p:spPr>
          <a:xfrm>
            <a:off x="6778800" y="34164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6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844AA48B-6BB2-95AD-B27E-816CD545C062}"/>
              </a:ext>
            </a:extLst>
          </p:cNvPr>
          <p:cNvSpPr/>
          <p:nvPr/>
        </p:nvSpPr>
        <p:spPr>
          <a:xfrm>
            <a:off x="4856400" y="53388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8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B8DAE96-2EA4-FB69-0E4F-CEEB5540C9E3}"/>
              </a:ext>
            </a:extLst>
          </p:cNvPr>
          <p:cNvSpPr/>
          <p:nvPr/>
        </p:nvSpPr>
        <p:spPr>
          <a:xfrm>
            <a:off x="6778800" y="53388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9</a:t>
            </a:r>
          </a:p>
        </p:txBody>
      </p:sp>
      <p:sp>
        <p:nvSpPr>
          <p:cNvPr id="353" name="Textfeld 352">
            <a:extLst>
              <a:ext uri="{FF2B5EF4-FFF2-40B4-BE49-F238E27FC236}">
                <a16:creationId xmlns:a16="http://schemas.microsoft.com/office/drawing/2014/main" id="{477B1D7B-58A1-6A73-E942-B2E5BCFBDF36}"/>
              </a:ext>
            </a:extLst>
          </p:cNvPr>
          <p:cNvSpPr txBox="1"/>
          <p:nvPr/>
        </p:nvSpPr>
        <p:spPr>
          <a:xfrm>
            <a:off x="4500000" y="164206"/>
            <a:ext cx="108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Länge</a:t>
            </a: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749C6A44-C614-5AE5-49E8-C8BDDE8EF198}"/>
              </a:ext>
            </a:extLst>
          </p:cNvPr>
          <p:cNvSpPr txBox="1"/>
          <p:nvPr/>
        </p:nvSpPr>
        <p:spPr>
          <a:xfrm rot="16200000">
            <a:off x="7848000" y="3528000"/>
            <a:ext cx="108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reite</a:t>
            </a:r>
          </a:p>
        </p:txBody>
      </p:sp>
      <p:sp>
        <p:nvSpPr>
          <p:cNvPr id="355" name="Textfeld 354">
            <a:extLst>
              <a:ext uri="{FF2B5EF4-FFF2-40B4-BE49-F238E27FC236}">
                <a16:creationId xmlns:a16="http://schemas.microsoft.com/office/drawing/2014/main" id="{875B1753-E7D6-8197-BCE7-0C4423EE8642}"/>
              </a:ext>
            </a:extLst>
          </p:cNvPr>
          <p:cNvSpPr txBox="1"/>
          <p:nvPr/>
        </p:nvSpPr>
        <p:spPr>
          <a:xfrm>
            <a:off x="506880" y="5878723"/>
            <a:ext cx="1404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punkte</a:t>
            </a:r>
          </a:p>
        </p:txBody>
      </p:sp>
      <p:sp>
        <p:nvSpPr>
          <p:cNvPr id="357" name="Ellipse 356">
            <a:extLst>
              <a:ext uri="{FF2B5EF4-FFF2-40B4-BE49-F238E27FC236}">
                <a16:creationId xmlns:a16="http://schemas.microsoft.com/office/drawing/2014/main" id="{A2831813-0EEA-B2A2-9C20-ACACF0F94631}"/>
              </a:ext>
            </a:extLst>
          </p:cNvPr>
          <p:cNvSpPr/>
          <p:nvPr/>
        </p:nvSpPr>
        <p:spPr>
          <a:xfrm>
            <a:off x="291321" y="59760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1ECFEE90-F6B0-2B59-421C-99AD09956FDA}"/>
              </a:ext>
            </a:extLst>
          </p:cNvPr>
          <p:cNvSpPr/>
          <p:nvPr/>
        </p:nvSpPr>
        <p:spPr>
          <a:xfrm>
            <a:off x="167950" y="63000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0" name="Textfeld 359">
            <a:extLst>
              <a:ext uri="{FF2B5EF4-FFF2-40B4-BE49-F238E27FC236}">
                <a16:creationId xmlns:a16="http://schemas.microsoft.com/office/drawing/2014/main" id="{E524026D-66B0-AFF3-A141-40235930C543}"/>
              </a:ext>
            </a:extLst>
          </p:cNvPr>
          <p:cNvSpPr txBox="1"/>
          <p:nvPr/>
        </p:nvSpPr>
        <p:spPr>
          <a:xfrm>
            <a:off x="522135" y="6321446"/>
            <a:ext cx="1267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chinen</a:t>
            </a:r>
          </a:p>
        </p:txBody>
      </p:sp>
    </p:spTree>
    <p:extLst>
      <p:ext uri="{BB962C8B-B14F-4D97-AF65-F5344CB8AC3E}">
        <p14:creationId xmlns:p14="http://schemas.microsoft.com/office/powerpoint/2010/main" val="33378885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5C3138-6FEB-438A-976A-5A56FD892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6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E5C3138-6FEB-438A-976A-5A56FD892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6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14B22E6C-BB35-4418-9925-0A32DF0EFC9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1099"/>
            <a:ext cx="158699" cy="158699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2199" b="1" dirty="0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7ADCF60-BBB9-43C5-ABD5-B32CD25E0284}"/>
              </a:ext>
            </a:extLst>
          </p:cNvPr>
          <p:cNvSpPr/>
          <p:nvPr/>
        </p:nvSpPr>
        <p:spPr bwMode="auto">
          <a:xfrm>
            <a:off x="5806016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1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45A8DA9-B791-4C31-B65D-D61CFF71C9B0}"/>
              </a:ext>
            </a:extLst>
          </p:cNvPr>
          <p:cNvSpPr/>
          <p:nvPr/>
        </p:nvSpPr>
        <p:spPr bwMode="auto">
          <a:xfrm>
            <a:off x="236462" y="908859"/>
            <a:ext cx="4565492" cy="504663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799" dirty="0">
                <a:solidFill>
                  <a:srgbClr val="FFFFFF"/>
                </a:solidFill>
                <a:latin typeface="Arial" charset="0"/>
              </a:rPr>
              <a:t>Zustandsraum </a:t>
            </a:r>
            <a:r>
              <a:rPr lang="de-DE" sz="1799" i="1" dirty="0">
                <a:solidFill>
                  <a:srgbClr val="FFFFFF"/>
                </a:solidFill>
                <a:latin typeface="Arial" charset="0"/>
              </a:rPr>
              <a:t>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3004A6F-E053-4E73-B605-637AE0DC04D0}"/>
              </a:ext>
            </a:extLst>
          </p:cNvPr>
          <p:cNvSpPr/>
          <p:nvPr/>
        </p:nvSpPr>
        <p:spPr bwMode="auto">
          <a:xfrm>
            <a:off x="5100870" y="908859"/>
            <a:ext cx="4565492" cy="504663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799" dirty="0">
                <a:solidFill>
                  <a:srgbClr val="FFFFFF"/>
                </a:solidFill>
                <a:latin typeface="Arial" charset="0"/>
              </a:rPr>
              <a:t>Aktionsraum </a:t>
            </a:r>
            <a:r>
              <a:rPr lang="de-DE" sz="1799" i="1" dirty="0">
                <a:solidFill>
                  <a:srgbClr val="FFFFFF"/>
                </a:solidFill>
                <a:latin typeface="Arial" charset="0"/>
              </a:rPr>
              <a:t>A</a:t>
            </a:r>
            <a:endParaRPr lang="de-DE" sz="1799" dirty="0">
              <a:solidFill>
                <a:srgbClr val="FFFFFF"/>
              </a:solidFill>
              <a:latin typeface="Arial" charset="0"/>
            </a:endParaRP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82414F3-EF4C-4738-8126-7D51F74CACF9}"/>
              </a:ext>
            </a:extLst>
          </p:cNvPr>
          <p:cNvGrpSpPr/>
          <p:nvPr/>
        </p:nvGrpSpPr>
        <p:grpSpPr>
          <a:xfrm>
            <a:off x="912350" y="1702032"/>
            <a:ext cx="3232760" cy="504663"/>
            <a:chOff x="912643" y="1701478"/>
            <a:chExt cx="3233796" cy="504825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FC8B155-DBCD-426B-9E59-7AA6990BC21D}"/>
                </a:ext>
              </a:extLst>
            </p:cNvPr>
            <p:cNvSpPr/>
            <p:nvPr/>
          </p:nvSpPr>
          <p:spPr bwMode="auto">
            <a:xfrm>
              <a:off x="912643" y="1701478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1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07FCEC6-F962-4FCD-8709-B177E31DF25E}"/>
                </a:ext>
              </a:extLst>
            </p:cNvPr>
            <p:cNvSpPr/>
            <p:nvPr/>
          </p:nvSpPr>
          <p:spPr bwMode="auto">
            <a:xfrm>
              <a:off x="1451609" y="1701478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2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9FBBF02E-CABA-4C05-94D1-DB36FA2D1B47}"/>
                </a:ext>
              </a:extLst>
            </p:cNvPr>
            <p:cNvSpPr/>
            <p:nvPr/>
          </p:nvSpPr>
          <p:spPr bwMode="auto">
            <a:xfrm>
              <a:off x="1990575" y="1701478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3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4A20118-A6F2-4F03-9DD1-42A879CF29D2}"/>
                </a:ext>
              </a:extLst>
            </p:cNvPr>
            <p:cNvSpPr/>
            <p:nvPr/>
          </p:nvSpPr>
          <p:spPr bwMode="auto">
            <a:xfrm>
              <a:off x="2529541" y="1701478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AC0B8CF-58E4-44B6-9454-CE52317F303A}"/>
                </a:ext>
              </a:extLst>
            </p:cNvPr>
            <p:cNvSpPr/>
            <p:nvPr/>
          </p:nvSpPr>
          <p:spPr bwMode="auto">
            <a:xfrm>
              <a:off x="3068507" y="1701478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5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8500066-A336-4B57-B2C0-F0C6BB8FB0AE}"/>
                </a:ext>
              </a:extLst>
            </p:cNvPr>
            <p:cNvSpPr/>
            <p:nvPr/>
          </p:nvSpPr>
          <p:spPr bwMode="auto">
            <a:xfrm>
              <a:off x="3607473" y="1701478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6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3874F78-AC74-4842-8AB2-0A7A19ED8A8C}"/>
              </a:ext>
            </a:extLst>
          </p:cNvPr>
          <p:cNvGrpSpPr/>
          <p:nvPr/>
        </p:nvGrpSpPr>
        <p:grpSpPr>
          <a:xfrm>
            <a:off x="912350" y="2543138"/>
            <a:ext cx="3232760" cy="504663"/>
            <a:chOff x="912643" y="2494906"/>
            <a:chExt cx="3233796" cy="504825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40B7E8E6-53AA-43F0-9F63-067A4B95BEAA}"/>
                </a:ext>
              </a:extLst>
            </p:cNvPr>
            <p:cNvSpPr/>
            <p:nvPr/>
          </p:nvSpPr>
          <p:spPr bwMode="auto">
            <a:xfrm>
              <a:off x="912643" y="2494906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1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FB37766-1B9C-457F-B214-963C48395484}"/>
                </a:ext>
              </a:extLst>
            </p:cNvPr>
            <p:cNvSpPr/>
            <p:nvPr/>
          </p:nvSpPr>
          <p:spPr bwMode="auto">
            <a:xfrm>
              <a:off x="1451609" y="2494906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2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16338EF-E8C4-4481-A348-75B670FF26EB}"/>
                </a:ext>
              </a:extLst>
            </p:cNvPr>
            <p:cNvSpPr/>
            <p:nvPr/>
          </p:nvSpPr>
          <p:spPr bwMode="auto">
            <a:xfrm>
              <a:off x="1990575" y="2494906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3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996E2F39-686D-414A-B5F1-FEB933A21381}"/>
                </a:ext>
              </a:extLst>
            </p:cNvPr>
            <p:cNvSpPr/>
            <p:nvPr/>
          </p:nvSpPr>
          <p:spPr bwMode="auto">
            <a:xfrm>
              <a:off x="2529541" y="2494906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FFC59485-514B-4CFB-9EF5-010DF9039FF3}"/>
                </a:ext>
              </a:extLst>
            </p:cNvPr>
            <p:cNvSpPr/>
            <p:nvPr/>
          </p:nvSpPr>
          <p:spPr bwMode="auto">
            <a:xfrm>
              <a:off x="3068507" y="2494906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6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C547753B-7037-4497-AD69-2FBAEF9DE9A1}"/>
                </a:ext>
              </a:extLst>
            </p:cNvPr>
            <p:cNvSpPr/>
            <p:nvPr/>
          </p:nvSpPr>
          <p:spPr bwMode="auto">
            <a:xfrm>
              <a:off x="3607473" y="2494906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5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561E6DD1-451E-459E-953D-9D3B929A263A}"/>
              </a:ext>
            </a:extLst>
          </p:cNvPr>
          <p:cNvGrpSpPr/>
          <p:nvPr/>
        </p:nvGrpSpPr>
        <p:grpSpPr>
          <a:xfrm>
            <a:off x="912350" y="3384243"/>
            <a:ext cx="3232760" cy="504663"/>
            <a:chOff x="912643" y="3288334"/>
            <a:chExt cx="3233796" cy="504825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32D1347-10DD-4C7D-BFE0-D4EE689B3471}"/>
                </a:ext>
              </a:extLst>
            </p:cNvPr>
            <p:cNvSpPr/>
            <p:nvPr/>
          </p:nvSpPr>
          <p:spPr bwMode="auto">
            <a:xfrm>
              <a:off x="912643" y="3288334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1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BDE46485-8FBB-4028-81CD-0342E7DB3AEB}"/>
                </a:ext>
              </a:extLst>
            </p:cNvPr>
            <p:cNvSpPr/>
            <p:nvPr/>
          </p:nvSpPr>
          <p:spPr bwMode="auto">
            <a:xfrm>
              <a:off x="1451609" y="3288334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2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8EEA1205-04E5-40CB-B01B-0B3C55368A90}"/>
                </a:ext>
              </a:extLst>
            </p:cNvPr>
            <p:cNvSpPr/>
            <p:nvPr/>
          </p:nvSpPr>
          <p:spPr bwMode="auto">
            <a:xfrm>
              <a:off x="1990575" y="3288334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9AC57381-DCCF-4507-B6BE-C2DD92797D82}"/>
                </a:ext>
              </a:extLst>
            </p:cNvPr>
            <p:cNvSpPr/>
            <p:nvPr/>
          </p:nvSpPr>
          <p:spPr bwMode="auto">
            <a:xfrm>
              <a:off x="2529541" y="3288334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3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775D754E-C081-46BC-896A-03ED22A9C40D}"/>
                </a:ext>
              </a:extLst>
            </p:cNvPr>
            <p:cNvSpPr/>
            <p:nvPr/>
          </p:nvSpPr>
          <p:spPr bwMode="auto">
            <a:xfrm>
              <a:off x="3068507" y="3288334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6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92CD45A7-B569-4C02-9598-6CAB4D02D3D1}"/>
                </a:ext>
              </a:extLst>
            </p:cNvPr>
            <p:cNvSpPr/>
            <p:nvPr/>
          </p:nvSpPr>
          <p:spPr bwMode="auto">
            <a:xfrm>
              <a:off x="3607473" y="3288334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5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D8FEAE2-F83B-4621-BE95-76EF1A9206DA}"/>
              </a:ext>
            </a:extLst>
          </p:cNvPr>
          <p:cNvGrpSpPr/>
          <p:nvPr/>
        </p:nvGrpSpPr>
        <p:grpSpPr>
          <a:xfrm>
            <a:off x="912350" y="4225348"/>
            <a:ext cx="3232760" cy="504663"/>
            <a:chOff x="912643" y="4225603"/>
            <a:chExt cx="3233796" cy="504825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68F94279-D770-427E-9226-21B1E2A691C2}"/>
                </a:ext>
              </a:extLst>
            </p:cNvPr>
            <p:cNvSpPr/>
            <p:nvPr/>
          </p:nvSpPr>
          <p:spPr bwMode="auto">
            <a:xfrm>
              <a:off x="912643" y="4225603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1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B065FF3D-D691-42AD-86A1-E39DF1C9632B}"/>
                </a:ext>
              </a:extLst>
            </p:cNvPr>
            <p:cNvSpPr/>
            <p:nvPr/>
          </p:nvSpPr>
          <p:spPr bwMode="auto">
            <a:xfrm>
              <a:off x="1451609" y="4225603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2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CB628B1E-2E68-494E-8E77-9B1E13C33A96}"/>
                </a:ext>
              </a:extLst>
            </p:cNvPr>
            <p:cNvSpPr/>
            <p:nvPr/>
          </p:nvSpPr>
          <p:spPr bwMode="auto">
            <a:xfrm>
              <a:off x="1990575" y="4225603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3F8B05B3-E3A3-428D-8991-F14BC4B24940}"/>
                </a:ext>
              </a:extLst>
            </p:cNvPr>
            <p:cNvSpPr/>
            <p:nvPr/>
          </p:nvSpPr>
          <p:spPr bwMode="auto">
            <a:xfrm>
              <a:off x="2529541" y="4225603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6</a:t>
              </a: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B5DABD9F-47AE-424F-908F-B6DB98EAA3B1}"/>
                </a:ext>
              </a:extLst>
            </p:cNvPr>
            <p:cNvSpPr/>
            <p:nvPr/>
          </p:nvSpPr>
          <p:spPr bwMode="auto">
            <a:xfrm>
              <a:off x="3068507" y="4225603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3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26BB0B7A-68E1-4838-ADFB-D2417FD0A163}"/>
                </a:ext>
              </a:extLst>
            </p:cNvPr>
            <p:cNvSpPr/>
            <p:nvPr/>
          </p:nvSpPr>
          <p:spPr bwMode="auto">
            <a:xfrm>
              <a:off x="3607473" y="4225603"/>
              <a:ext cx="538966" cy="50482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11" tIns="45705" rIns="91411" bIns="4570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799" dirty="0">
                  <a:solidFill>
                    <a:sysClr val="windowText" lastClr="000000"/>
                  </a:solidFill>
                  <a:latin typeface="Arial" charset="0"/>
                </a:rPr>
                <a:t>5</a:t>
              </a:r>
            </a:p>
          </p:txBody>
        </p:sp>
      </p:grp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EAF9316-AD36-44FC-A090-29AAC704D2B7}"/>
              </a:ext>
            </a:extLst>
          </p:cNvPr>
          <p:cNvCxnSpPr>
            <a:stCxn id="12" idx="2"/>
            <a:endCxn id="19" idx="0"/>
          </p:cNvCxnSpPr>
          <p:nvPr/>
        </p:nvCxnSpPr>
        <p:spPr bwMode="auto">
          <a:xfrm>
            <a:off x="3336920" y="2206695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AE1B4459-B2AD-4632-9397-A32587062581}"/>
              </a:ext>
            </a:extLst>
          </p:cNvPr>
          <p:cNvCxnSpPr>
            <a:stCxn id="13" idx="2"/>
            <a:endCxn id="18" idx="0"/>
          </p:cNvCxnSpPr>
          <p:nvPr/>
        </p:nvCxnSpPr>
        <p:spPr bwMode="auto">
          <a:xfrm flipH="1">
            <a:off x="3336920" y="2206695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795E55D4-817E-4145-AB5A-435225EDABCA}"/>
              </a:ext>
            </a:extLst>
          </p:cNvPr>
          <p:cNvCxnSpPr>
            <a:stCxn id="17" idx="2"/>
            <a:endCxn id="22" idx="0"/>
          </p:cNvCxnSpPr>
          <p:nvPr/>
        </p:nvCxnSpPr>
        <p:spPr bwMode="auto">
          <a:xfrm flipH="1">
            <a:off x="2259333" y="3047800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E39D680-562C-48C8-BCE3-643356A6CCC9}"/>
              </a:ext>
            </a:extLst>
          </p:cNvPr>
          <p:cNvCxnSpPr>
            <a:stCxn id="16" idx="2"/>
            <a:endCxn id="23" idx="0"/>
          </p:cNvCxnSpPr>
          <p:nvPr/>
        </p:nvCxnSpPr>
        <p:spPr bwMode="auto">
          <a:xfrm>
            <a:off x="2259333" y="3047800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1564574-A5A3-485E-9C71-C60040390C02}"/>
              </a:ext>
            </a:extLst>
          </p:cNvPr>
          <p:cNvCxnSpPr>
            <a:stCxn id="23" idx="2"/>
            <a:endCxn id="30" idx="0"/>
          </p:cNvCxnSpPr>
          <p:nvPr/>
        </p:nvCxnSpPr>
        <p:spPr bwMode="auto">
          <a:xfrm>
            <a:off x="2798127" y="3888906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B96167B7-3268-4BE0-908B-D7C5C432FF79}"/>
              </a:ext>
            </a:extLst>
          </p:cNvPr>
          <p:cNvCxnSpPr>
            <a:stCxn id="24" idx="2"/>
            <a:endCxn id="29" idx="0"/>
          </p:cNvCxnSpPr>
          <p:nvPr/>
        </p:nvCxnSpPr>
        <p:spPr bwMode="auto">
          <a:xfrm flipH="1">
            <a:off x="2798127" y="3888906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FE00A3B2-58C6-4FE5-A51C-A4227B6BEC7E}"/>
                  </a:ext>
                </a:extLst>
              </p:cNvPr>
              <p:cNvSpPr/>
              <p:nvPr/>
            </p:nvSpPr>
            <p:spPr bwMode="auto">
              <a:xfrm>
                <a:off x="236462" y="5265892"/>
                <a:ext cx="4565492" cy="48019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11" tIns="45705" rIns="91411" bIns="45705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26" fontAlgn="base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!=120</m:t>
                    </m:r>
                  </m:oMath>
                </a14:m>
                <a:r>
                  <a:rPr lang="de-DE" sz="1799" dirty="0">
                    <a:solidFill>
                      <a:srgbClr val="000000"/>
                    </a:solidFill>
                    <a:latin typeface="Arial"/>
                  </a:rPr>
                  <a:t> Permutationen</a:t>
                </a:r>
              </a:p>
            </p:txBody>
          </p:sp>
        </mc:Choice>
        <mc:Fallback xmlns=""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FE00A3B2-58C6-4FE5-A51C-A4227B6BEC7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36462" y="5265892"/>
                <a:ext cx="4565492" cy="480196"/>
              </a:xfrm>
              <a:prstGeom prst="rect">
                <a:avLst/>
              </a:prstGeom>
              <a:blipFill>
                <a:blip r:embed="rId7"/>
                <a:stretch>
                  <a:fillRect b="-3614"/>
                </a:stretch>
              </a:blipFill>
              <a:ln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Rechteck 50">
            <a:extLst>
              <a:ext uri="{FF2B5EF4-FFF2-40B4-BE49-F238E27FC236}">
                <a16:creationId xmlns:a16="http://schemas.microsoft.com/office/drawing/2014/main" id="{782EA6B9-07F5-40CF-A372-5624B66D381E}"/>
              </a:ext>
            </a:extLst>
          </p:cNvPr>
          <p:cNvSpPr/>
          <p:nvPr/>
        </p:nvSpPr>
        <p:spPr bwMode="auto">
          <a:xfrm>
            <a:off x="6344809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2)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DAFEC77-AC91-4953-9EF5-A743DDAD7C93}"/>
              </a:ext>
            </a:extLst>
          </p:cNvPr>
          <p:cNvSpPr/>
          <p:nvPr/>
        </p:nvSpPr>
        <p:spPr bwMode="auto">
          <a:xfrm>
            <a:off x="6883603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3)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BDAABB3-EA1A-4646-ACFF-9A62B7C8E6AE}"/>
              </a:ext>
            </a:extLst>
          </p:cNvPr>
          <p:cNvSpPr/>
          <p:nvPr/>
        </p:nvSpPr>
        <p:spPr bwMode="auto">
          <a:xfrm>
            <a:off x="7422396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4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EB04A74E-F331-4144-BC30-4AB010DFAD77}"/>
              </a:ext>
            </a:extLst>
          </p:cNvPr>
          <p:cNvSpPr/>
          <p:nvPr/>
        </p:nvSpPr>
        <p:spPr bwMode="auto">
          <a:xfrm>
            <a:off x="7961189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5)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C163C366-5825-4E67-9D4E-6128835209FC}"/>
              </a:ext>
            </a:extLst>
          </p:cNvPr>
          <p:cNvSpPr/>
          <p:nvPr/>
        </p:nvSpPr>
        <p:spPr bwMode="auto">
          <a:xfrm>
            <a:off x="8499982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6)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EE87B3D4-62F8-47BA-81EE-7E23F9676A68}"/>
              </a:ext>
            </a:extLst>
          </p:cNvPr>
          <p:cNvSpPr/>
          <p:nvPr/>
        </p:nvSpPr>
        <p:spPr bwMode="auto">
          <a:xfrm>
            <a:off x="5806016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1269E41A-CCD6-418B-A10B-4468267337AA}"/>
              </a:ext>
            </a:extLst>
          </p:cNvPr>
          <p:cNvSpPr/>
          <p:nvPr/>
        </p:nvSpPr>
        <p:spPr bwMode="auto">
          <a:xfrm>
            <a:off x="6344809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2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8F757AE-CA1B-4F55-9952-66DD91F0C3A3}"/>
              </a:ext>
            </a:extLst>
          </p:cNvPr>
          <p:cNvSpPr/>
          <p:nvPr/>
        </p:nvSpPr>
        <p:spPr bwMode="auto">
          <a:xfrm>
            <a:off x="6883603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3)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6A1EBDD5-A256-4AEB-AF5C-C5F36B4CA249}"/>
              </a:ext>
            </a:extLst>
          </p:cNvPr>
          <p:cNvSpPr/>
          <p:nvPr/>
        </p:nvSpPr>
        <p:spPr bwMode="auto">
          <a:xfrm>
            <a:off x="7422396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4)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67CFAB9-9BBA-40A8-B3FB-FE12D0C0F4B7}"/>
              </a:ext>
            </a:extLst>
          </p:cNvPr>
          <p:cNvSpPr/>
          <p:nvPr/>
        </p:nvSpPr>
        <p:spPr bwMode="auto">
          <a:xfrm>
            <a:off x="7961189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5)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8A52D197-EADF-4A2C-A468-B7C52A97D21F}"/>
              </a:ext>
            </a:extLst>
          </p:cNvPr>
          <p:cNvSpPr/>
          <p:nvPr/>
        </p:nvSpPr>
        <p:spPr bwMode="auto">
          <a:xfrm>
            <a:off x="8499982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6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3D432AB2-06B6-4D28-BFB0-B0394AAC9787}"/>
              </a:ext>
            </a:extLst>
          </p:cNvPr>
          <p:cNvSpPr/>
          <p:nvPr/>
        </p:nvSpPr>
        <p:spPr bwMode="auto">
          <a:xfrm>
            <a:off x="5806016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1)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85E9992-6492-40D7-99C9-CD38C44A3571}"/>
              </a:ext>
            </a:extLst>
          </p:cNvPr>
          <p:cNvSpPr/>
          <p:nvPr/>
        </p:nvSpPr>
        <p:spPr bwMode="auto">
          <a:xfrm>
            <a:off x="6344809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2)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460C956-4421-4245-800F-DAA71C2CBF8D}"/>
              </a:ext>
            </a:extLst>
          </p:cNvPr>
          <p:cNvSpPr/>
          <p:nvPr/>
        </p:nvSpPr>
        <p:spPr bwMode="auto">
          <a:xfrm>
            <a:off x="6883603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3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BFBB453-4B83-490F-A8EE-F83D19672178}"/>
              </a:ext>
            </a:extLst>
          </p:cNvPr>
          <p:cNvSpPr/>
          <p:nvPr/>
        </p:nvSpPr>
        <p:spPr bwMode="auto">
          <a:xfrm>
            <a:off x="7422396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4)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3F3EBCD4-7FB9-4A4C-92C6-138681D7D6D9}"/>
              </a:ext>
            </a:extLst>
          </p:cNvPr>
          <p:cNvSpPr/>
          <p:nvPr/>
        </p:nvSpPr>
        <p:spPr bwMode="auto">
          <a:xfrm>
            <a:off x="7961189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5)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F4C91D4-4F28-4531-B8B5-6648F3A619AA}"/>
              </a:ext>
            </a:extLst>
          </p:cNvPr>
          <p:cNvSpPr/>
          <p:nvPr/>
        </p:nvSpPr>
        <p:spPr bwMode="auto">
          <a:xfrm>
            <a:off x="8499982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6)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34EC93C-095F-45C1-A0C8-3C5D4FC719E3}"/>
              </a:ext>
            </a:extLst>
          </p:cNvPr>
          <p:cNvSpPr/>
          <p:nvPr/>
        </p:nvSpPr>
        <p:spPr bwMode="auto">
          <a:xfrm>
            <a:off x="5806016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1)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EC4D053-2B94-4B62-883E-9A986E47FC67}"/>
              </a:ext>
            </a:extLst>
          </p:cNvPr>
          <p:cNvSpPr/>
          <p:nvPr/>
        </p:nvSpPr>
        <p:spPr bwMode="auto">
          <a:xfrm>
            <a:off x="6344809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2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B9C7FC1-18B3-49BC-8E31-77C7BBE619C4}"/>
              </a:ext>
            </a:extLst>
          </p:cNvPr>
          <p:cNvSpPr/>
          <p:nvPr/>
        </p:nvSpPr>
        <p:spPr bwMode="auto">
          <a:xfrm>
            <a:off x="6883603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3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E92EC8A-3E56-468A-958E-0B142111B3D9}"/>
              </a:ext>
            </a:extLst>
          </p:cNvPr>
          <p:cNvSpPr/>
          <p:nvPr/>
        </p:nvSpPr>
        <p:spPr bwMode="auto">
          <a:xfrm>
            <a:off x="7422396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4)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8BCAE4EF-51D5-4FFD-BA55-9CEA7433B2B3}"/>
              </a:ext>
            </a:extLst>
          </p:cNvPr>
          <p:cNvSpPr/>
          <p:nvPr/>
        </p:nvSpPr>
        <p:spPr bwMode="auto">
          <a:xfrm>
            <a:off x="7961189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5)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1A512F4-70AC-49A4-85E8-10FDDACF93C4}"/>
              </a:ext>
            </a:extLst>
          </p:cNvPr>
          <p:cNvSpPr/>
          <p:nvPr/>
        </p:nvSpPr>
        <p:spPr bwMode="auto">
          <a:xfrm>
            <a:off x="8499982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6)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0877666-55F6-4BD8-85A8-1BAE12FDF2ED}"/>
              </a:ext>
            </a:extLst>
          </p:cNvPr>
          <p:cNvSpPr/>
          <p:nvPr/>
        </p:nvSpPr>
        <p:spPr bwMode="auto">
          <a:xfrm>
            <a:off x="5806016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1)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C1DE584-FCF9-4690-AF59-122C708C3517}"/>
              </a:ext>
            </a:extLst>
          </p:cNvPr>
          <p:cNvSpPr/>
          <p:nvPr/>
        </p:nvSpPr>
        <p:spPr bwMode="auto">
          <a:xfrm>
            <a:off x="6344809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2)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D0B54D6F-D36E-45D2-9A3A-D5E118A951DB}"/>
              </a:ext>
            </a:extLst>
          </p:cNvPr>
          <p:cNvSpPr/>
          <p:nvPr/>
        </p:nvSpPr>
        <p:spPr bwMode="auto">
          <a:xfrm>
            <a:off x="6883603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3)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F8D8B0F9-8B52-458D-81B4-F8A80EDD94A3}"/>
              </a:ext>
            </a:extLst>
          </p:cNvPr>
          <p:cNvSpPr/>
          <p:nvPr/>
        </p:nvSpPr>
        <p:spPr bwMode="auto">
          <a:xfrm>
            <a:off x="7422396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4)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F1BDEF7E-A75E-419E-B665-6724D1C727AD}"/>
              </a:ext>
            </a:extLst>
          </p:cNvPr>
          <p:cNvSpPr/>
          <p:nvPr/>
        </p:nvSpPr>
        <p:spPr bwMode="auto">
          <a:xfrm>
            <a:off x="7961189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5)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C3C122CA-D3D8-43B9-99EB-9BA626411A72}"/>
              </a:ext>
            </a:extLst>
          </p:cNvPr>
          <p:cNvSpPr/>
          <p:nvPr/>
        </p:nvSpPr>
        <p:spPr bwMode="auto">
          <a:xfrm>
            <a:off x="8499982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6)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AB3D536-343A-4C16-A86B-ACC92AFE4D21}"/>
              </a:ext>
            </a:extLst>
          </p:cNvPr>
          <p:cNvSpPr/>
          <p:nvPr/>
        </p:nvSpPr>
        <p:spPr bwMode="auto">
          <a:xfrm>
            <a:off x="5806016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1)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4A077D2-8797-4612-ACE1-495510A4419D}"/>
              </a:ext>
            </a:extLst>
          </p:cNvPr>
          <p:cNvSpPr/>
          <p:nvPr/>
        </p:nvSpPr>
        <p:spPr bwMode="auto">
          <a:xfrm>
            <a:off x="6344809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2)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463803-9391-4901-AB1B-FD06653BC27E}"/>
              </a:ext>
            </a:extLst>
          </p:cNvPr>
          <p:cNvSpPr/>
          <p:nvPr/>
        </p:nvSpPr>
        <p:spPr bwMode="auto">
          <a:xfrm>
            <a:off x="6883603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3)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0A93683A-EB79-446C-9928-311494CFC77D}"/>
              </a:ext>
            </a:extLst>
          </p:cNvPr>
          <p:cNvSpPr/>
          <p:nvPr/>
        </p:nvSpPr>
        <p:spPr bwMode="auto">
          <a:xfrm>
            <a:off x="7422396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4)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42A7494-F774-4C78-B27C-0F01771A1177}"/>
              </a:ext>
            </a:extLst>
          </p:cNvPr>
          <p:cNvSpPr/>
          <p:nvPr/>
        </p:nvSpPr>
        <p:spPr bwMode="auto">
          <a:xfrm>
            <a:off x="7961189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5)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4A4534E-BBEA-4244-B20E-1A8CCF0C58E7}"/>
              </a:ext>
            </a:extLst>
          </p:cNvPr>
          <p:cNvSpPr/>
          <p:nvPr/>
        </p:nvSpPr>
        <p:spPr bwMode="auto">
          <a:xfrm>
            <a:off x="8499982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6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09D506C7-A5F1-4326-82CD-D569B6885521}"/>
                  </a:ext>
                </a:extLst>
              </p:cNvPr>
              <p:cNvSpPr/>
              <p:nvPr/>
            </p:nvSpPr>
            <p:spPr bwMode="auto">
              <a:xfrm>
                <a:off x="5095123" y="5265892"/>
                <a:ext cx="4565492" cy="48019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11" tIns="45705" rIns="91411" bIns="45705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26" fontAlgn="base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p>
                        <m: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)∗0,5+1=16</m:t>
                    </m:r>
                  </m:oMath>
                </a14:m>
                <a:r>
                  <a:rPr lang="de-DE" sz="1799" dirty="0">
                    <a:solidFill>
                      <a:srgbClr val="000000"/>
                    </a:solidFill>
                    <a:latin typeface="Arial"/>
                  </a:rPr>
                  <a:t> Aktionen</a:t>
                </a:r>
              </a:p>
            </p:txBody>
          </p:sp>
        </mc:Choice>
        <mc:Fallback xmlns=""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09D506C7-A5F1-4326-82CD-D569B688552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95123" y="5265892"/>
                <a:ext cx="4565492" cy="480196"/>
              </a:xfrm>
              <a:prstGeom prst="rect">
                <a:avLst/>
              </a:prstGeom>
              <a:blipFill>
                <a:blip r:embed="rId8"/>
                <a:stretch>
                  <a:fillRect b="-3614"/>
                </a:stretch>
              </a:blipFill>
              <a:ln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7" name="Rechteck 116">
            <a:extLst>
              <a:ext uri="{FF2B5EF4-FFF2-40B4-BE49-F238E27FC236}">
                <a16:creationId xmlns:a16="http://schemas.microsoft.com/office/drawing/2014/main" id="{A12882ED-12C6-46A2-B436-995BB0EA479C}"/>
              </a:ext>
            </a:extLst>
          </p:cNvPr>
          <p:cNvSpPr/>
          <p:nvPr/>
        </p:nvSpPr>
        <p:spPr bwMode="auto">
          <a:xfrm>
            <a:off x="5806015" y="170203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2BC6082F-7981-45E3-93B1-C3AC6EC174B6}"/>
              </a:ext>
            </a:extLst>
          </p:cNvPr>
          <p:cNvSpPr/>
          <p:nvPr/>
        </p:nvSpPr>
        <p:spPr bwMode="auto">
          <a:xfrm>
            <a:off x="6344809" y="220669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32663A69-BA8F-45D5-A887-2573B4D1F9DE}"/>
              </a:ext>
            </a:extLst>
          </p:cNvPr>
          <p:cNvSpPr/>
          <p:nvPr/>
        </p:nvSpPr>
        <p:spPr bwMode="auto">
          <a:xfrm>
            <a:off x="6883604" y="2711359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BFFC2418-9923-4BFA-A3E7-BE5EA3B2A33A}"/>
              </a:ext>
            </a:extLst>
          </p:cNvPr>
          <p:cNvSpPr/>
          <p:nvPr/>
        </p:nvSpPr>
        <p:spPr bwMode="auto">
          <a:xfrm>
            <a:off x="7422397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21F7717-6D3A-4BAB-A8E1-842D0EEDE280}"/>
              </a:ext>
            </a:extLst>
          </p:cNvPr>
          <p:cNvSpPr/>
          <p:nvPr/>
        </p:nvSpPr>
        <p:spPr bwMode="auto">
          <a:xfrm>
            <a:off x="7961190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240ED990-F442-4738-A2BB-F743CD504199}"/>
              </a:ext>
            </a:extLst>
          </p:cNvPr>
          <p:cNvSpPr/>
          <p:nvPr/>
        </p:nvSpPr>
        <p:spPr bwMode="auto">
          <a:xfrm>
            <a:off x="8499982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8A33DEC4-A77F-41EE-89CE-3A2C3313E882}"/>
              </a:ext>
            </a:extLst>
          </p:cNvPr>
          <p:cNvSpPr/>
          <p:nvPr/>
        </p:nvSpPr>
        <p:spPr bwMode="auto">
          <a:xfrm>
            <a:off x="5806016" y="220669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356E05A3-C03C-4D14-8C46-DDE08A013C47}"/>
              </a:ext>
            </a:extLst>
          </p:cNvPr>
          <p:cNvSpPr/>
          <p:nvPr/>
        </p:nvSpPr>
        <p:spPr bwMode="auto">
          <a:xfrm>
            <a:off x="5806016" y="2711359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CA55ED2-8C53-468E-A98D-618061504FE7}"/>
              </a:ext>
            </a:extLst>
          </p:cNvPr>
          <p:cNvSpPr/>
          <p:nvPr/>
        </p:nvSpPr>
        <p:spPr bwMode="auto">
          <a:xfrm>
            <a:off x="6344810" y="2711359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718C686D-5B2B-4A6E-916E-4743D5FA0461}"/>
              </a:ext>
            </a:extLst>
          </p:cNvPr>
          <p:cNvSpPr/>
          <p:nvPr/>
        </p:nvSpPr>
        <p:spPr bwMode="auto">
          <a:xfrm>
            <a:off x="5806016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4C673F-4AD6-4BED-8058-160E26FD15A0}"/>
              </a:ext>
            </a:extLst>
          </p:cNvPr>
          <p:cNvSpPr/>
          <p:nvPr/>
        </p:nvSpPr>
        <p:spPr bwMode="auto">
          <a:xfrm>
            <a:off x="7422396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56A724B4-E126-47D1-AE37-6351A377AAEC}"/>
              </a:ext>
            </a:extLst>
          </p:cNvPr>
          <p:cNvSpPr/>
          <p:nvPr/>
        </p:nvSpPr>
        <p:spPr bwMode="auto">
          <a:xfrm>
            <a:off x="5806016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F4C0587-9E23-439E-A231-CD516132D048}"/>
              </a:ext>
            </a:extLst>
          </p:cNvPr>
          <p:cNvSpPr/>
          <p:nvPr/>
        </p:nvSpPr>
        <p:spPr bwMode="auto">
          <a:xfrm>
            <a:off x="6344810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0E8D78B4-B0CF-4B71-A682-027ABCBF948B}"/>
              </a:ext>
            </a:extLst>
          </p:cNvPr>
          <p:cNvSpPr/>
          <p:nvPr/>
        </p:nvSpPr>
        <p:spPr bwMode="auto">
          <a:xfrm>
            <a:off x="6883603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B269ED70-7BAE-4E5B-BF2E-8996F94E5359}"/>
              </a:ext>
            </a:extLst>
          </p:cNvPr>
          <p:cNvSpPr/>
          <p:nvPr/>
        </p:nvSpPr>
        <p:spPr bwMode="auto">
          <a:xfrm>
            <a:off x="6344810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A16D466B-8563-4D26-AF50-CF5618A93EC9}"/>
              </a:ext>
            </a:extLst>
          </p:cNvPr>
          <p:cNvSpPr/>
          <p:nvPr/>
        </p:nvSpPr>
        <p:spPr bwMode="auto">
          <a:xfrm>
            <a:off x="5806015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A8B09B3F-1613-499B-8C12-E0FF7A233A4E}"/>
              </a:ext>
            </a:extLst>
          </p:cNvPr>
          <p:cNvSpPr/>
          <p:nvPr/>
        </p:nvSpPr>
        <p:spPr bwMode="auto">
          <a:xfrm>
            <a:off x="6344809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9C8CE152-76C8-4343-9C2D-1930EB8E1B01}"/>
              </a:ext>
            </a:extLst>
          </p:cNvPr>
          <p:cNvSpPr/>
          <p:nvPr/>
        </p:nvSpPr>
        <p:spPr bwMode="auto">
          <a:xfrm>
            <a:off x="6883604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174FFEC-919F-4F45-A21E-3325D2F6BDE6}"/>
              </a:ext>
            </a:extLst>
          </p:cNvPr>
          <p:cNvSpPr/>
          <p:nvPr/>
        </p:nvSpPr>
        <p:spPr bwMode="auto">
          <a:xfrm>
            <a:off x="7961189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6DDA51E9-06A1-45FA-BC04-79FB8293ABEB}"/>
              </a:ext>
            </a:extLst>
          </p:cNvPr>
          <p:cNvSpPr/>
          <p:nvPr/>
        </p:nvSpPr>
        <p:spPr bwMode="auto">
          <a:xfrm>
            <a:off x="7422397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D74AF917-715B-4A06-B3BF-CB4761643A17}"/>
              </a:ext>
            </a:extLst>
          </p:cNvPr>
          <p:cNvSpPr/>
          <p:nvPr/>
        </p:nvSpPr>
        <p:spPr bwMode="auto">
          <a:xfrm>
            <a:off x="6883603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DFCCF125-F638-4198-ACAB-CFF0D9C2F583}"/>
              </a:ext>
            </a:extLst>
          </p:cNvPr>
          <p:cNvSpPr/>
          <p:nvPr/>
        </p:nvSpPr>
        <p:spPr bwMode="auto">
          <a:xfrm>
            <a:off x="5806015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1)</a:t>
            </a:r>
          </a:p>
        </p:txBody>
      </p:sp>
      <p:graphicFrame>
        <p:nvGraphicFramePr>
          <p:cNvPr id="40" name="Tabelle 41">
            <a:extLst>
              <a:ext uri="{FF2B5EF4-FFF2-40B4-BE49-F238E27FC236}">
                <a16:creationId xmlns:a16="http://schemas.microsoft.com/office/drawing/2014/main" id="{321A16A5-07A5-56F7-EAFD-C88CDC2E5E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308828"/>
              </p:ext>
            </p:extLst>
          </p:nvPr>
        </p:nvGraphicFramePr>
        <p:xfrm>
          <a:off x="236462" y="245097"/>
          <a:ext cx="3960000" cy="468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4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4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0390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139" grpId="0" animBg="1"/>
      <p:bldP spid="14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5C3138-6FEB-438A-976A-5A56FD892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6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E5C3138-6FEB-438A-976A-5A56FD892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6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14B22E6C-BB35-4418-9925-0A32DF0EFC9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1099"/>
            <a:ext cx="158699" cy="158699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2199" b="1" dirty="0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7ADCF60-BBB9-43C5-ABD5-B32CD25E0284}"/>
              </a:ext>
            </a:extLst>
          </p:cNvPr>
          <p:cNvSpPr/>
          <p:nvPr/>
        </p:nvSpPr>
        <p:spPr bwMode="auto">
          <a:xfrm>
            <a:off x="5806016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1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45A8DA9-B791-4C31-B65D-D61CFF71C9B0}"/>
              </a:ext>
            </a:extLst>
          </p:cNvPr>
          <p:cNvSpPr/>
          <p:nvPr/>
        </p:nvSpPr>
        <p:spPr bwMode="auto">
          <a:xfrm>
            <a:off x="236462" y="908859"/>
            <a:ext cx="4565492" cy="504663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799" dirty="0">
                <a:solidFill>
                  <a:srgbClr val="FFFFFF"/>
                </a:solidFill>
                <a:latin typeface="Arial" charset="0"/>
              </a:rPr>
              <a:t>Zustandsraum </a:t>
            </a:r>
            <a:r>
              <a:rPr lang="de-DE" sz="1799" i="1" dirty="0">
                <a:solidFill>
                  <a:srgbClr val="FFFFFF"/>
                </a:solidFill>
                <a:latin typeface="Arial" charset="0"/>
              </a:rPr>
              <a:t>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3004A6F-E053-4E73-B605-637AE0DC04D0}"/>
              </a:ext>
            </a:extLst>
          </p:cNvPr>
          <p:cNvSpPr/>
          <p:nvPr/>
        </p:nvSpPr>
        <p:spPr bwMode="auto">
          <a:xfrm>
            <a:off x="5100870" y="908859"/>
            <a:ext cx="4565492" cy="504663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799" dirty="0">
                <a:solidFill>
                  <a:srgbClr val="FFFFFF"/>
                </a:solidFill>
                <a:latin typeface="Arial" charset="0"/>
              </a:rPr>
              <a:t>Aktionsraum </a:t>
            </a:r>
            <a:r>
              <a:rPr lang="de-DE" sz="1799" i="1" dirty="0">
                <a:solidFill>
                  <a:srgbClr val="FFFFFF"/>
                </a:solidFill>
                <a:latin typeface="Arial" charset="0"/>
              </a:rPr>
              <a:t>A</a:t>
            </a:r>
            <a:endParaRPr lang="de-DE" sz="1799" dirty="0">
              <a:solidFill>
                <a:srgbClr val="FFFFFF"/>
              </a:solidFill>
              <a:latin typeface="Arial" charset="0"/>
            </a:endParaRP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EAF9316-AD36-44FC-A090-29AAC704D2B7}"/>
              </a:ext>
            </a:extLst>
          </p:cNvPr>
          <p:cNvCxnSpPr>
            <a:cxnSpLocks/>
          </p:cNvCxnSpPr>
          <p:nvPr/>
        </p:nvCxnSpPr>
        <p:spPr bwMode="auto">
          <a:xfrm>
            <a:off x="3469271" y="2290805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AE1B4459-B2AD-4632-9397-A32587062581}"/>
              </a:ext>
            </a:extLst>
          </p:cNvPr>
          <p:cNvCxnSpPr>
            <a:cxnSpLocks/>
          </p:cNvCxnSpPr>
          <p:nvPr/>
        </p:nvCxnSpPr>
        <p:spPr bwMode="auto">
          <a:xfrm flipH="1">
            <a:off x="3381446" y="2290805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795E55D4-817E-4145-AB5A-435225EDABCA}"/>
              </a:ext>
            </a:extLst>
          </p:cNvPr>
          <p:cNvCxnSpPr>
            <a:cxnSpLocks/>
          </p:cNvCxnSpPr>
          <p:nvPr/>
        </p:nvCxnSpPr>
        <p:spPr bwMode="auto">
          <a:xfrm flipH="1">
            <a:off x="2487011" y="3216022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E39D680-562C-48C8-BCE3-643356A6CCC9}"/>
              </a:ext>
            </a:extLst>
          </p:cNvPr>
          <p:cNvCxnSpPr>
            <a:cxnSpLocks/>
          </p:cNvCxnSpPr>
          <p:nvPr/>
        </p:nvCxnSpPr>
        <p:spPr bwMode="auto">
          <a:xfrm>
            <a:off x="2519208" y="3212876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1564574-A5A3-485E-9C71-C60040390C02}"/>
              </a:ext>
            </a:extLst>
          </p:cNvPr>
          <p:cNvCxnSpPr>
            <a:cxnSpLocks/>
          </p:cNvCxnSpPr>
          <p:nvPr/>
        </p:nvCxnSpPr>
        <p:spPr bwMode="auto">
          <a:xfrm>
            <a:off x="1033258" y="4148377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B96167B7-3268-4BE0-908B-D7C5C432FF79}"/>
              </a:ext>
            </a:extLst>
          </p:cNvPr>
          <p:cNvCxnSpPr>
            <a:cxnSpLocks/>
          </p:cNvCxnSpPr>
          <p:nvPr/>
        </p:nvCxnSpPr>
        <p:spPr bwMode="auto">
          <a:xfrm flipH="1">
            <a:off x="1033258" y="4141237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FE00A3B2-58C6-4FE5-A51C-A4227B6BEC7E}"/>
                  </a:ext>
                </a:extLst>
              </p:cNvPr>
              <p:cNvSpPr/>
              <p:nvPr/>
            </p:nvSpPr>
            <p:spPr bwMode="auto">
              <a:xfrm>
                <a:off x="236462" y="5265892"/>
                <a:ext cx="4565492" cy="48019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11" tIns="45705" rIns="91411" bIns="45705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26" fontAlgn="base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!=120</m:t>
                    </m:r>
                  </m:oMath>
                </a14:m>
                <a:r>
                  <a:rPr lang="de-DE" sz="1799" dirty="0">
                    <a:solidFill>
                      <a:srgbClr val="000000"/>
                    </a:solidFill>
                    <a:latin typeface="Arial"/>
                  </a:rPr>
                  <a:t> Permutationen</a:t>
                </a:r>
              </a:p>
            </p:txBody>
          </p:sp>
        </mc:Choice>
        <mc:Fallback xmlns=""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FE00A3B2-58C6-4FE5-A51C-A4227B6BEC7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36462" y="5265892"/>
                <a:ext cx="4565492" cy="480196"/>
              </a:xfrm>
              <a:prstGeom prst="rect">
                <a:avLst/>
              </a:prstGeom>
              <a:blipFill>
                <a:blip r:embed="rId7"/>
                <a:stretch>
                  <a:fillRect b="-3614"/>
                </a:stretch>
              </a:blipFill>
              <a:ln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Rechteck 50">
            <a:extLst>
              <a:ext uri="{FF2B5EF4-FFF2-40B4-BE49-F238E27FC236}">
                <a16:creationId xmlns:a16="http://schemas.microsoft.com/office/drawing/2014/main" id="{782EA6B9-07F5-40CF-A372-5624B66D381E}"/>
              </a:ext>
            </a:extLst>
          </p:cNvPr>
          <p:cNvSpPr/>
          <p:nvPr/>
        </p:nvSpPr>
        <p:spPr bwMode="auto">
          <a:xfrm>
            <a:off x="6344809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2)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DAFEC77-AC91-4953-9EF5-A743DDAD7C93}"/>
              </a:ext>
            </a:extLst>
          </p:cNvPr>
          <p:cNvSpPr/>
          <p:nvPr/>
        </p:nvSpPr>
        <p:spPr bwMode="auto">
          <a:xfrm>
            <a:off x="6883603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3)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BDAABB3-EA1A-4646-ACFF-9A62B7C8E6AE}"/>
              </a:ext>
            </a:extLst>
          </p:cNvPr>
          <p:cNvSpPr/>
          <p:nvPr/>
        </p:nvSpPr>
        <p:spPr bwMode="auto">
          <a:xfrm>
            <a:off x="7422396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4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EB04A74E-F331-4144-BC30-4AB010DFAD77}"/>
              </a:ext>
            </a:extLst>
          </p:cNvPr>
          <p:cNvSpPr/>
          <p:nvPr/>
        </p:nvSpPr>
        <p:spPr bwMode="auto">
          <a:xfrm>
            <a:off x="7961189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5)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C163C366-5825-4E67-9D4E-6128835209FC}"/>
              </a:ext>
            </a:extLst>
          </p:cNvPr>
          <p:cNvSpPr/>
          <p:nvPr/>
        </p:nvSpPr>
        <p:spPr bwMode="auto">
          <a:xfrm>
            <a:off x="8499982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6)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EE87B3D4-62F8-47BA-81EE-7E23F9676A68}"/>
              </a:ext>
            </a:extLst>
          </p:cNvPr>
          <p:cNvSpPr/>
          <p:nvPr/>
        </p:nvSpPr>
        <p:spPr bwMode="auto">
          <a:xfrm>
            <a:off x="5806016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1269E41A-CCD6-418B-A10B-4468267337AA}"/>
              </a:ext>
            </a:extLst>
          </p:cNvPr>
          <p:cNvSpPr/>
          <p:nvPr/>
        </p:nvSpPr>
        <p:spPr bwMode="auto">
          <a:xfrm>
            <a:off x="6344809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2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8F757AE-CA1B-4F55-9952-66DD91F0C3A3}"/>
              </a:ext>
            </a:extLst>
          </p:cNvPr>
          <p:cNvSpPr/>
          <p:nvPr/>
        </p:nvSpPr>
        <p:spPr bwMode="auto">
          <a:xfrm>
            <a:off x="6883603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3)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6A1EBDD5-A256-4AEB-AF5C-C5F36B4CA249}"/>
              </a:ext>
            </a:extLst>
          </p:cNvPr>
          <p:cNvSpPr/>
          <p:nvPr/>
        </p:nvSpPr>
        <p:spPr bwMode="auto">
          <a:xfrm>
            <a:off x="7422396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4)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67CFAB9-9BBA-40A8-B3FB-FE12D0C0F4B7}"/>
              </a:ext>
            </a:extLst>
          </p:cNvPr>
          <p:cNvSpPr/>
          <p:nvPr/>
        </p:nvSpPr>
        <p:spPr bwMode="auto">
          <a:xfrm>
            <a:off x="7961189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5)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8A52D197-EADF-4A2C-A468-B7C52A97D21F}"/>
              </a:ext>
            </a:extLst>
          </p:cNvPr>
          <p:cNvSpPr/>
          <p:nvPr/>
        </p:nvSpPr>
        <p:spPr bwMode="auto">
          <a:xfrm>
            <a:off x="8499982" y="220669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2,6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3D432AB2-06B6-4D28-BFB0-B0394AAC9787}"/>
              </a:ext>
            </a:extLst>
          </p:cNvPr>
          <p:cNvSpPr/>
          <p:nvPr/>
        </p:nvSpPr>
        <p:spPr bwMode="auto">
          <a:xfrm>
            <a:off x="5806016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1)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85E9992-6492-40D7-99C9-CD38C44A3571}"/>
              </a:ext>
            </a:extLst>
          </p:cNvPr>
          <p:cNvSpPr/>
          <p:nvPr/>
        </p:nvSpPr>
        <p:spPr bwMode="auto">
          <a:xfrm>
            <a:off x="6344809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2)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460C956-4421-4245-800F-DAA71C2CBF8D}"/>
              </a:ext>
            </a:extLst>
          </p:cNvPr>
          <p:cNvSpPr/>
          <p:nvPr/>
        </p:nvSpPr>
        <p:spPr bwMode="auto">
          <a:xfrm>
            <a:off x="6883603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3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BFBB453-4B83-490F-A8EE-F83D19672178}"/>
              </a:ext>
            </a:extLst>
          </p:cNvPr>
          <p:cNvSpPr/>
          <p:nvPr/>
        </p:nvSpPr>
        <p:spPr bwMode="auto">
          <a:xfrm>
            <a:off x="7422396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4)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3F3EBCD4-7FB9-4A4C-92C6-138681D7D6D9}"/>
              </a:ext>
            </a:extLst>
          </p:cNvPr>
          <p:cNvSpPr/>
          <p:nvPr/>
        </p:nvSpPr>
        <p:spPr bwMode="auto">
          <a:xfrm>
            <a:off x="7961189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5)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F4C91D4-4F28-4531-B8B5-6648F3A619AA}"/>
              </a:ext>
            </a:extLst>
          </p:cNvPr>
          <p:cNvSpPr/>
          <p:nvPr/>
        </p:nvSpPr>
        <p:spPr bwMode="auto">
          <a:xfrm>
            <a:off x="8499982" y="2711359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3,6)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34EC93C-095F-45C1-A0C8-3C5D4FC719E3}"/>
              </a:ext>
            </a:extLst>
          </p:cNvPr>
          <p:cNvSpPr/>
          <p:nvPr/>
        </p:nvSpPr>
        <p:spPr bwMode="auto">
          <a:xfrm>
            <a:off x="5806016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1)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EC4D053-2B94-4B62-883E-9A986E47FC67}"/>
              </a:ext>
            </a:extLst>
          </p:cNvPr>
          <p:cNvSpPr/>
          <p:nvPr/>
        </p:nvSpPr>
        <p:spPr bwMode="auto">
          <a:xfrm>
            <a:off x="6344809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2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B9C7FC1-18B3-49BC-8E31-77C7BBE619C4}"/>
              </a:ext>
            </a:extLst>
          </p:cNvPr>
          <p:cNvSpPr/>
          <p:nvPr/>
        </p:nvSpPr>
        <p:spPr bwMode="auto">
          <a:xfrm>
            <a:off x="6883603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3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E92EC8A-3E56-468A-958E-0B142111B3D9}"/>
              </a:ext>
            </a:extLst>
          </p:cNvPr>
          <p:cNvSpPr/>
          <p:nvPr/>
        </p:nvSpPr>
        <p:spPr bwMode="auto">
          <a:xfrm>
            <a:off x="7422396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4)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8BCAE4EF-51D5-4FFD-BA55-9CEA7433B2B3}"/>
              </a:ext>
            </a:extLst>
          </p:cNvPr>
          <p:cNvSpPr/>
          <p:nvPr/>
        </p:nvSpPr>
        <p:spPr bwMode="auto">
          <a:xfrm>
            <a:off x="7961189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5)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1A512F4-70AC-49A4-85E8-10FDDACF93C4}"/>
              </a:ext>
            </a:extLst>
          </p:cNvPr>
          <p:cNvSpPr/>
          <p:nvPr/>
        </p:nvSpPr>
        <p:spPr bwMode="auto">
          <a:xfrm>
            <a:off x="8499982" y="321602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4,6)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0877666-55F6-4BD8-85A8-1BAE12FDF2ED}"/>
              </a:ext>
            </a:extLst>
          </p:cNvPr>
          <p:cNvSpPr/>
          <p:nvPr/>
        </p:nvSpPr>
        <p:spPr bwMode="auto">
          <a:xfrm>
            <a:off x="5806016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1)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C1DE584-FCF9-4690-AF59-122C708C3517}"/>
              </a:ext>
            </a:extLst>
          </p:cNvPr>
          <p:cNvSpPr/>
          <p:nvPr/>
        </p:nvSpPr>
        <p:spPr bwMode="auto">
          <a:xfrm>
            <a:off x="6344809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2)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D0B54D6F-D36E-45D2-9A3A-D5E118A951DB}"/>
              </a:ext>
            </a:extLst>
          </p:cNvPr>
          <p:cNvSpPr/>
          <p:nvPr/>
        </p:nvSpPr>
        <p:spPr bwMode="auto">
          <a:xfrm>
            <a:off x="6883603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3)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F8D8B0F9-8B52-458D-81B4-F8A80EDD94A3}"/>
              </a:ext>
            </a:extLst>
          </p:cNvPr>
          <p:cNvSpPr/>
          <p:nvPr/>
        </p:nvSpPr>
        <p:spPr bwMode="auto">
          <a:xfrm>
            <a:off x="7422396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4)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F1BDEF7E-A75E-419E-B665-6724D1C727AD}"/>
              </a:ext>
            </a:extLst>
          </p:cNvPr>
          <p:cNvSpPr/>
          <p:nvPr/>
        </p:nvSpPr>
        <p:spPr bwMode="auto">
          <a:xfrm>
            <a:off x="7961189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5)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C3C122CA-D3D8-43B9-99EB-9BA626411A72}"/>
              </a:ext>
            </a:extLst>
          </p:cNvPr>
          <p:cNvSpPr/>
          <p:nvPr/>
        </p:nvSpPr>
        <p:spPr bwMode="auto">
          <a:xfrm>
            <a:off x="8499982" y="3720685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5,6)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AB3D536-343A-4C16-A86B-ACC92AFE4D21}"/>
              </a:ext>
            </a:extLst>
          </p:cNvPr>
          <p:cNvSpPr/>
          <p:nvPr/>
        </p:nvSpPr>
        <p:spPr bwMode="auto">
          <a:xfrm>
            <a:off x="5806016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1)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4A077D2-8797-4612-ACE1-495510A4419D}"/>
              </a:ext>
            </a:extLst>
          </p:cNvPr>
          <p:cNvSpPr/>
          <p:nvPr/>
        </p:nvSpPr>
        <p:spPr bwMode="auto">
          <a:xfrm>
            <a:off x="6344809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2)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463803-9391-4901-AB1B-FD06653BC27E}"/>
              </a:ext>
            </a:extLst>
          </p:cNvPr>
          <p:cNvSpPr/>
          <p:nvPr/>
        </p:nvSpPr>
        <p:spPr bwMode="auto">
          <a:xfrm>
            <a:off x="6883603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3)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0A93683A-EB79-446C-9928-311494CFC77D}"/>
              </a:ext>
            </a:extLst>
          </p:cNvPr>
          <p:cNvSpPr/>
          <p:nvPr/>
        </p:nvSpPr>
        <p:spPr bwMode="auto">
          <a:xfrm>
            <a:off x="7422396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4)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42A7494-F774-4C78-B27C-0F01771A1177}"/>
              </a:ext>
            </a:extLst>
          </p:cNvPr>
          <p:cNvSpPr/>
          <p:nvPr/>
        </p:nvSpPr>
        <p:spPr bwMode="auto">
          <a:xfrm>
            <a:off x="7961189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5)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4A4534E-BBEA-4244-B20E-1A8CCF0C58E7}"/>
              </a:ext>
            </a:extLst>
          </p:cNvPr>
          <p:cNvSpPr/>
          <p:nvPr/>
        </p:nvSpPr>
        <p:spPr bwMode="auto">
          <a:xfrm>
            <a:off x="8499982" y="4225348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6,6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09D506C7-A5F1-4326-82CD-D569B6885521}"/>
                  </a:ext>
                </a:extLst>
              </p:cNvPr>
              <p:cNvSpPr/>
              <p:nvPr/>
            </p:nvSpPr>
            <p:spPr bwMode="auto">
              <a:xfrm>
                <a:off x="5095123" y="5265892"/>
                <a:ext cx="4565492" cy="48019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11" tIns="45705" rIns="91411" bIns="45705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26" fontAlgn="base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p>
                        <m:r>
                          <a:rPr lang="de-DE" sz="1799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799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)∗0,5+1=16</m:t>
                    </m:r>
                  </m:oMath>
                </a14:m>
                <a:r>
                  <a:rPr lang="de-DE" sz="1799" dirty="0">
                    <a:solidFill>
                      <a:srgbClr val="000000"/>
                    </a:solidFill>
                    <a:latin typeface="Arial"/>
                  </a:rPr>
                  <a:t> Aktionen</a:t>
                </a:r>
              </a:p>
            </p:txBody>
          </p:sp>
        </mc:Choice>
        <mc:Fallback xmlns=""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09D506C7-A5F1-4326-82CD-D569B688552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95123" y="5265892"/>
                <a:ext cx="4565492" cy="480196"/>
              </a:xfrm>
              <a:prstGeom prst="rect">
                <a:avLst/>
              </a:prstGeom>
              <a:blipFill>
                <a:blip r:embed="rId8"/>
                <a:stretch>
                  <a:fillRect b="-3614"/>
                </a:stretch>
              </a:blipFill>
              <a:ln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7" name="Rechteck 116">
            <a:extLst>
              <a:ext uri="{FF2B5EF4-FFF2-40B4-BE49-F238E27FC236}">
                <a16:creationId xmlns:a16="http://schemas.microsoft.com/office/drawing/2014/main" id="{A12882ED-12C6-46A2-B436-995BB0EA479C}"/>
              </a:ext>
            </a:extLst>
          </p:cNvPr>
          <p:cNvSpPr/>
          <p:nvPr/>
        </p:nvSpPr>
        <p:spPr bwMode="auto">
          <a:xfrm>
            <a:off x="5806015" y="170203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2BC6082F-7981-45E3-93B1-C3AC6EC174B6}"/>
              </a:ext>
            </a:extLst>
          </p:cNvPr>
          <p:cNvSpPr/>
          <p:nvPr/>
        </p:nvSpPr>
        <p:spPr bwMode="auto">
          <a:xfrm>
            <a:off x="6344809" y="220669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32663A69-BA8F-45D5-A887-2573B4D1F9DE}"/>
              </a:ext>
            </a:extLst>
          </p:cNvPr>
          <p:cNvSpPr/>
          <p:nvPr/>
        </p:nvSpPr>
        <p:spPr bwMode="auto">
          <a:xfrm>
            <a:off x="6883604" y="2711359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BFFC2418-9923-4BFA-A3E7-BE5EA3B2A33A}"/>
              </a:ext>
            </a:extLst>
          </p:cNvPr>
          <p:cNvSpPr/>
          <p:nvPr/>
        </p:nvSpPr>
        <p:spPr bwMode="auto">
          <a:xfrm>
            <a:off x="7422397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21F7717-6D3A-4BAB-A8E1-842D0EEDE280}"/>
              </a:ext>
            </a:extLst>
          </p:cNvPr>
          <p:cNvSpPr/>
          <p:nvPr/>
        </p:nvSpPr>
        <p:spPr bwMode="auto">
          <a:xfrm>
            <a:off x="7961190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240ED990-F442-4738-A2BB-F743CD504199}"/>
              </a:ext>
            </a:extLst>
          </p:cNvPr>
          <p:cNvSpPr/>
          <p:nvPr/>
        </p:nvSpPr>
        <p:spPr bwMode="auto">
          <a:xfrm>
            <a:off x="8499982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8A33DEC4-A77F-41EE-89CE-3A2C3313E882}"/>
              </a:ext>
            </a:extLst>
          </p:cNvPr>
          <p:cNvSpPr/>
          <p:nvPr/>
        </p:nvSpPr>
        <p:spPr bwMode="auto">
          <a:xfrm>
            <a:off x="5806016" y="220669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356E05A3-C03C-4D14-8C46-DDE08A013C47}"/>
              </a:ext>
            </a:extLst>
          </p:cNvPr>
          <p:cNvSpPr/>
          <p:nvPr/>
        </p:nvSpPr>
        <p:spPr bwMode="auto">
          <a:xfrm>
            <a:off x="5806016" y="2711359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CA55ED2-8C53-468E-A98D-618061504FE7}"/>
              </a:ext>
            </a:extLst>
          </p:cNvPr>
          <p:cNvSpPr/>
          <p:nvPr/>
        </p:nvSpPr>
        <p:spPr bwMode="auto">
          <a:xfrm>
            <a:off x="6344810" y="2711359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718C686D-5B2B-4A6E-916E-4743D5FA0461}"/>
              </a:ext>
            </a:extLst>
          </p:cNvPr>
          <p:cNvSpPr/>
          <p:nvPr/>
        </p:nvSpPr>
        <p:spPr bwMode="auto">
          <a:xfrm>
            <a:off x="5806016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4C673F-4AD6-4BED-8058-160E26FD15A0}"/>
              </a:ext>
            </a:extLst>
          </p:cNvPr>
          <p:cNvSpPr/>
          <p:nvPr/>
        </p:nvSpPr>
        <p:spPr bwMode="auto">
          <a:xfrm>
            <a:off x="7422396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56A724B4-E126-47D1-AE37-6351A377AAEC}"/>
              </a:ext>
            </a:extLst>
          </p:cNvPr>
          <p:cNvSpPr/>
          <p:nvPr/>
        </p:nvSpPr>
        <p:spPr bwMode="auto">
          <a:xfrm>
            <a:off x="5806016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F4C0587-9E23-439E-A231-CD516132D048}"/>
              </a:ext>
            </a:extLst>
          </p:cNvPr>
          <p:cNvSpPr/>
          <p:nvPr/>
        </p:nvSpPr>
        <p:spPr bwMode="auto">
          <a:xfrm>
            <a:off x="6344810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0E8D78B4-B0CF-4B71-A682-027ABCBF948B}"/>
              </a:ext>
            </a:extLst>
          </p:cNvPr>
          <p:cNvSpPr/>
          <p:nvPr/>
        </p:nvSpPr>
        <p:spPr bwMode="auto">
          <a:xfrm>
            <a:off x="6883603" y="3216022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B269ED70-7BAE-4E5B-BF2E-8996F94E5359}"/>
              </a:ext>
            </a:extLst>
          </p:cNvPr>
          <p:cNvSpPr/>
          <p:nvPr/>
        </p:nvSpPr>
        <p:spPr bwMode="auto">
          <a:xfrm>
            <a:off x="6344810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A16D466B-8563-4D26-AF50-CF5618A93EC9}"/>
              </a:ext>
            </a:extLst>
          </p:cNvPr>
          <p:cNvSpPr/>
          <p:nvPr/>
        </p:nvSpPr>
        <p:spPr bwMode="auto">
          <a:xfrm>
            <a:off x="5806015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A8B09B3F-1613-499B-8C12-E0FF7A233A4E}"/>
              </a:ext>
            </a:extLst>
          </p:cNvPr>
          <p:cNvSpPr/>
          <p:nvPr/>
        </p:nvSpPr>
        <p:spPr bwMode="auto">
          <a:xfrm>
            <a:off x="6344809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9C8CE152-76C8-4343-9C2D-1930EB8E1B01}"/>
              </a:ext>
            </a:extLst>
          </p:cNvPr>
          <p:cNvSpPr/>
          <p:nvPr/>
        </p:nvSpPr>
        <p:spPr bwMode="auto">
          <a:xfrm>
            <a:off x="6883604" y="3720685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174FFEC-919F-4F45-A21E-3325D2F6BDE6}"/>
              </a:ext>
            </a:extLst>
          </p:cNvPr>
          <p:cNvSpPr/>
          <p:nvPr/>
        </p:nvSpPr>
        <p:spPr bwMode="auto">
          <a:xfrm>
            <a:off x="7961189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6DDA51E9-06A1-45FA-BC04-79FB8293ABEB}"/>
              </a:ext>
            </a:extLst>
          </p:cNvPr>
          <p:cNvSpPr/>
          <p:nvPr/>
        </p:nvSpPr>
        <p:spPr bwMode="auto">
          <a:xfrm>
            <a:off x="7422397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D74AF917-715B-4A06-B3BF-CB4761643A17}"/>
              </a:ext>
            </a:extLst>
          </p:cNvPr>
          <p:cNvSpPr/>
          <p:nvPr/>
        </p:nvSpPr>
        <p:spPr bwMode="auto">
          <a:xfrm>
            <a:off x="6883603" y="4225348"/>
            <a:ext cx="538793" cy="50466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DFCCF125-F638-4198-ACAB-CFF0D9C2F583}"/>
              </a:ext>
            </a:extLst>
          </p:cNvPr>
          <p:cNvSpPr/>
          <p:nvPr/>
        </p:nvSpPr>
        <p:spPr bwMode="auto">
          <a:xfrm>
            <a:off x="5806015" y="1702032"/>
            <a:ext cx="538793" cy="5046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algn="ctr" defTabSz="914126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ysClr val="windowText" lastClr="000000"/>
                </a:solidFill>
                <a:latin typeface="Arial" charset="0"/>
              </a:rPr>
              <a:t>(1,1)</a:t>
            </a:r>
          </a:p>
        </p:txBody>
      </p:sp>
      <p:graphicFrame>
        <p:nvGraphicFramePr>
          <p:cNvPr id="40" name="Tabelle 41">
            <a:extLst>
              <a:ext uri="{FF2B5EF4-FFF2-40B4-BE49-F238E27FC236}">
                <a16:creationId xmlns:a16="http://schemas.microsoft.com/office/drawing/2014/main" id="{321A16A5-07A5-56F7-EAFD-C88CDC2E5E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212057"/>
              </p:ext>
            </p:extLst>
          </p:nvPr>
        </p:nvGraphicFramePr>
        <p:xfrm>
          <a:off x="359208" y="1733138"/>
          <a:ext cx="4320000" cy="5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  <p:graphicFrame>
        <p:nvGraphicFramePr>
          <p:cNvPr id="38" name="Tabelle 41">
            <a:extLst>
              <a:ext uri="{FF2B5EF4-FFF2-40B4-BE49-F238E27FC236}">
                <a16:creationId xmlns:a16="http://schemas.microsoft.com/office/drawing/2014/main" id="{CD52FB81-1A19-8535-51F3-37B9F4A7C8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84644"/>
              </p:ext>
            </p:extLst>
          </p:nvPr>
        </p:nvGraphicFramePr>
        <p:xfrm>
          <a:off x="359208" y="2665526"/>
          <a:ext cx="4320000" cy="534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34874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  <p:graphicFrame>
        <p:nvGraphicFramePr>
          <p:cNvPr id="43" name="Tabelle 41">
            <a:extLst>
              <a:ext uri="{FF2B5EF4-FFF2-40B4-BE49-F238E27FC236}">
                <a16:creationId xmlns:a16="http://schemas.microsoft.com/office/drawing/2014/main" id="{6571F102-3A01-D064-9414-50A94CB3E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1374386"/>
              </p:ext>
            </p:extLst>
          </p:nvPr>
        </p:nvGraphicFramePr>
        <p:xfrm>
          <a:off x="360000" y="3600000"/>
          <a:ext cx="4320000" cy="534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34874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  <p:graphicFrame>
        <p:nvGraphicFramePr>
          <p:cNvPr id="47" name="Tabelle 41">
            <a:extLst>
              <a:ext uri="{FF2B5EF4-FFF2-40B4-BE49-F238E27FC236}">
                <a16:creationId xmlns:a16="http://schemas.microsoft.com/office/drawing/2014/main" id="{247E436A-2839-6ED2-B001-256FED48BD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442773"/>
              </p:ext>
            </p:extLst>
          </p:nvPr>
        </p:nvGraphicFramePr>
        <p:xfrm>
          <a:off x="359207" y="4523808"/>
          <a:ext cx="4320000" cy="534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34874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7979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139" grpId="0" animBg="1"/>
      <p:bldP spid="14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92F1BD6-2F98-0A66-EE2C-24F6F02596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21298" y="0"/>
            <a:ext cx="9902825" cy="3562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273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ogen 7">
            <a:extLst>
              <a:ext uri="{FF2B5EF4-FFF2-40B4-BE49-F238E27FC236}">
                <a16:creationId xmlns:a16="http://schemas.microsoft.com/office/drawing/2014/main" id="{2BDF7302-56FD-86DA-08F9-2AE32DE1298C}"/>
              </a:ext>
            </a:extLst>
          </p:cNvPr>
          <p:cNvSpPr/>
          <p:nvPr/>
        </p:nvSpPr>
        <p:spPr>
          <a:xfrm rot="10800000">
            <a:off x="648000" y="72000"/>
            <a:ext cx="3339584" cy="5971593"/>
          </a:xfrm>
          <a:prstGeom prst="arc">
            <a:avLst>
              <a:gd name="adj1" fmla="val 11117412"/>
              <a:gd name="adj2" fmla="val 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C7FBDA14-E1F2-2AE9-B5EB-9928F8FFDA46}"/>
              </a:ext>
            </a:extLst>
          </p:cNvPr>
          <p:cNvCxnSpPr/>
          <p:nvPr/>
        </p:nvCxnSpPr>
        <p:spPr>
          <a:xfrm flipV="1">
            <a:off x="360000" y="2484000"/>
            <a:ext cx="0" cy="38880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7007BCAB-7CD3-E7C9-73E9-E0CF4631D657}"/>
              </a:ext>
            </a:extLst>
          </p:cNvPr>
          <p:cNvCxnSpPr/>
          <p:nvPr/>
        </p:nvCxnSpPr>
        <p:spPr>
          <a:xfrm>
            <a:off x="144000" y="6148873"/>
            <a:ext cx="4140000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Bogen 8">
            <a:extLst>
              <a:ext uri="{FF2B5EF4-FFF2-40B4-BE49-F238E27FC236}">
                <a16:creationId xmlns:a16="http://schemas.microsoft.com/office/drawing/2014/main" id="{9B21043B-F1DC-6D22-6FE1-80A360D4134D}"/>
              </a:ext>
            </a:extLst>
          </p:cNvPr>
          <p:cNvSpPr/>
          <p:nvPr/>
        </p:nvSpPr>
        <p:spPr>
          <a:xfrm rot="10800000">
            <a:off x="5838931" y="72000"/>
            <a:ext cx="3339584" cy="5971593"/>
          </a:xfrm>
          <a:prstGeom prst="arc">
            <a:avLst>
              <a:gd name="adj1" fmla="val 11117412"/>
              <a:gd name="adj2" fmla="val 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C0EB6E6-CE8D-6FB8-9704-E4890DC92FE3}"/>
              </a:ext>
            </a:extLst>
          </p:cNvPr>
          <p:cNvCxnSpPr/>
          <p:nvPr/>
        </p:nvCxnSpPr>
        <p:spPr>
          <a:xfrm flipV="1">
            <a:off x="5550931" y="2484000"/>
            <a:ext cx="0" cy="38880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0C102246-04D1-9764-9EE3-F1BE56943783}"/>
              </a:ext>
            </a:extLst>
          </p:cNvPr>
          <p:cNvCxnSpPr/>
          <p:nvPr/>
        </p:nvCxnSpPr>
        <p:spPr>
          <a:xfrm>
            <a:off x="5334931" y="6148873"/>
            <a:ext cx="4140000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3EF6E5D9-779E-3879-DE0D-2014D387433E}"/>
              </a:ext>
            </a:extLst>
          </p:cNvPr>
          <p:cNvSpPr txBox="1"/>
          <p:nvPr/>
        </p:nvSpPr>
        <p:spPr>
          <a:xfrm>
            <a:off x="27363" y="2114668"/>
            <a:ext cx="11949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Ziel-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k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13D34C3-A917-F257-747A-1985274B77E8}"/>
              </a:ext>
            </a:extLst>
          </p:cNvPr>
          <p:cNvSpPr txBox="1"/>
          <p:nvPr/>
        </p:nvSpPr>
        <p:spPr>
          <a:xfrm>
            <a:off x="5306939" y="2114668"/>
            <a:ext cx="11949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Ziel-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k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40C2A2-D07C-EE6E-44B5-FDA1B70FAE66}"/>
              </a:ext>
            </a:extLst>
          </p:cNvPr>
          <p:cNvSpPr txBox="1"/>
          <p:nvPr/>
        </p:nvSpPr>
        <p:spPr>
          <a:xfrm>
            <a:off x="3249122" y="6254153"/>
            <a:ext cx="17022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Gewichtu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AF148EC-0AB3-B7CC-AB9F-6330103B2246}"/>
              </a:ext>
            </a:extLst>
          </p:cNvPr>
          <p:cNvSpPr txBox="1"/>
          <p:nvPr/>
        </p:nvSpPr>
        <p:spPr>
          <a:xfrm>
            <a:off x="8200535" y="6254153"/>
            <a:ext cx="17022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Gewichtung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44C45541-E4C9-9B37-8EEA-A7AD11E7B8BC}"/>
              </a:ext>
            </a:extLst>
          </p:cNvPr>
          <p:cNvSpPr/>
          <p:nvPr/>
        </p:nvSpPr>
        <p:spPr>
          <a:xfrm>
            <a:off x="565200" y="3438072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8872B314-4FCF-E300-4873-FAEC556FED00}"/>
              </a:ext>
            </a:extLst>
          </p:cNvPr>
          <p:cNvSpPr/>
          <p:nvPr/>
        </p:nvSpPr>
        <p:spPr>
          <a:xfrm>
            <a:off x="612000" y="3823738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5E7AED7C-4AF0-1367-37BF-645D8C584C59}"/>
              </a:ext>
            </a:extLst>
          </p:cNvPr>
          <p:cNvSpPr/>
          <p:nvPr/>
        </p:nvSpPr>
        <p:spPr>
          <a:xfrm>
            <a:off x="705600" y="4209404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C2735C5-5469-285C-44FF-CB45DDCA1D2D}"/>
              </a:ext>
            </a:extLst>
          </p:cNvPr>
          <p:cNvSpPr/>
          <p:nvPr/>
        </p:nvSpPr>
        <p:spPr>
          <a:xfrm>
            <a:off x="820800" y="45828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EBE9CE33-850B-BD38-2C6D-1D8EAFEDC9D8}"/>
              </a:ext>
            </a:extLst>
          </p:cNvPr>
          <p:cNvSpPr/>
          <p:nvPr/>
        </p:nvSpPr>
        <p:spPr>
          <a:xfrm>
            <a:off x="990000" y="4978273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5CCE19C0-1EB4-0376-6CAF-9C922639CE57}"/>
              </a:ext>
            </a:extLst>
          </p:cNvPr>
          <p:cNvSpPr/>
          <p:nvPr/>
        </p:nvSpPr>
        <p:spPr>
          <a:xfrm>
            <a:off x="1187999" y="53280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12CBF8B-8E16-A144-F42F-D21AD9349AE0}"/>
              </a:ext>
            </a:extLst>
          </p:cNvPr>
          <p:cNvSpPr/>
          <p:nvPr/>
        </p:nvSpPr>
        <p:spPr>
          <a:xfrm>
            <a:off x="1440000" y="5624546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783DA46B-97FB-529F-2383-B9240BA662B4}"/>
              </a:ext>
            </a:extLst>
          </p:cNvPr>
          <p:cNvSpPr/>
          <p:nvPr/>
        </p:nvSpPr>
        <p:spPr>
          <a:xfrm>
            <a:off x="1764000" y="58320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C59F29DD-DB0F-EE1C-CD64-ECDA516A6785}"/>
              </a:ext>
            </a:extLst>
          </p:cNvPr>
          <p:cNvSpPr/>
          <p:nvPr/>
        </p:nvSpPr>
        <p:spPr>
          <a:xfrm>
            <a:off x="2167340" y="5942381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9F8BA5B-07D5-A2E8-C99C-E3C5B867C18F}"/>
              </a:ext>
            </a:extLst>
          </p:cNvPr>
          <p:cNvSpPr/>
          <p:nvPr/>
        </p:nvSpPr>
        <p:spPr>
          <a:xfrm>
            <a:off x="5776729" y="3438072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835752A-B915-8DF4-68B0-E38CCBBA0497}"/>
              </a:ext>
            </a:extLst>
          </p:cNvPr>
          <p:cNvSpPr/>
          <p:nvPr/>
        </p:nvSpPr>
        <p:spPr>
          <a:xfrm>
            <a:off x="6040993" y="4657687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C0DAEEA8-8399-35CA-2318-351DC552814C}"/>
              </a:ext>
            </a:extLst>
          </p:cNvPr>
          <p:cNvSpPr/>
          <p:nvPr/>
        </p:nvSpPr>
        <p:spPr>
          <a:xfrm>
            <a:off x="8664523" y="4978273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B67FB90-186B-2CCD-A245-2DAF4A38589B}"/>
              </a:ext>
            </a:extLst>
          </p:cNvPr>
          <p:cNvSpPr/>
          <p:nvPr/>
        </p:nvSpPr>
        <p:spPr>
          <a:xfrm>
            <a:off x="6321886" y="5297975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2C33EF85-7262-F28B-84CF-E3AC40D95534}"/>
              </a:ext>
            </a:extLst>
          </p:cNvPr>
          <p:cNvSpPr/>
          <p:nvPr/>
        </p:nvSpPr>
        <p:spPr>
          <a:xfrm>
            <a:off x="8443233" y="5300618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C58B993-61BC-60B6-5245-DE46D365F38F}"/>
              </a:ext>
            </a:extLst>
          </p:cNvPr>
          <p:cNvSpPr/>
          <p:nvPr/>
        </p:nvSpPr>
        <p:spPr>
          <a:xfrm>
            <a:off x="8180801" y="5624546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C5AD27AE-5DBE-5F90-0ECB-20D9BD57D270}"/>
              </a:ext>
            </a:extLst>
          </p:cNvPr>
          <p:cNvSpPr/>
          <p:nvPr/>
        </p:nvSpPr>
        <p:spPr>
          <a:xfrm>
            <a:off x="6782285" y="5714546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62B4709-275F-BE5D-A9F7-1D47D830810B}"/>
              </a:ext>
            </a:extLst>
          </p:cNvPr>
          <p:cNvCxnSpPr/>
          <p:nvPr/>
        </p:nvCxnSpPr>
        <p:spPr>
          <a:xfrm flipH="1">
            <a:off x="2257340" y="4389404"/>
            <a:ext cx="0" cy="201600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0894D059-EB4E-06C6-7933-436C4ABE83D3}"/>
              </a:ext>
            </a:extLst>
          </p:cNvPr>
          <p:cNvSpPr txBox="1"/>
          <p:nvPr/>
        </p:nvSpPr>
        <p:spPr>
          <a:xfrm>
            <a:off x="1907100" y="6385890"/>
            <a:ext cx="742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Op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7EA81D1-477B-53A9-6E48-816437CDB89B}"/>
              </a:ext>
            </a:extLst>
          </p:cNvPr>
          <p:cNvCxnSpPr/>
          <p:nvPr/>
        </p:nvCxnSpPr>
        <p:spPr>
          <a:xfrm flipH="1">
            <a:off x="7513585" y="4388172"/>
            <a:ext cx="0" cy="201600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4588052F-5281-1F5F-D6D5-7B9865F22F89}"/>
              </a:ext>
            </a:extLst>
          </p:cNvPr>
          <p:cNvSpPr txBox="1"/>
          <p:nvPr/>
        </p:nvSpPr>
        <p:spPr>
          <a:xfrm>
            <a:off x="7163345" y="6384658"/>
            <a:ext cx="742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Op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0E35D65C-8482-5783-48BD-2A6C23C80C13}"/>
              </a:ext>
            </a:extLst>
          </p:cNvPr>
          <p:cNvCxnSpPr>
            <a:cxnSpLocks/>
          </p:cNvCxnSpPr>
          <p:nvPr/>
        </p:nvCxnSpPr>
        <p:spPr>
          <a:xfrm>
            <a:off x="818006" y="3502706"/>
            <a:ext cx="36196" cy="38023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1D2C5B6F-B88F-E374-2DE3-4CB6E7F7E9E9}"/>
              </a:ext>
            </a:extLst>
          </p:cNvPr>
          <p:cNvCxnSpPr>
            <a:cxnSpLocks/>
          </p:cNvCxnSpPr>
          <p:nvPr/>
        </p:nvCxnSpPr>
        <p:spPr>
          <a:xfrm>
            <a:off x="884067" y="3915757"/>
            <a:ext cx="36196" cy="38023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C375B9F4-E827-08AD-196F-3495A438D62F}"/>
              </a:ext>
            </a:extLst>
          </p:cNvPr>
          <p:cNvCxnSpPr>
            <a:cxnSpLocks/>
          </p:cNvCxnSpPr>
          <p:nvPr/>
        </p:nvCxnSpPr>
        <p:spPr>
          <a:xfrm>
            <a:off x="971925" y="4281564"/>
            <a:ext cx="95507" cy="376123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3500A918-C210-1A6A-9C45-4BCF8C034E0A}"/>
              </a:ext>
            </a:extLst>
          </p:cNvPr>
          <p:cNvCxnSpPr>
            <a:cxnSpLocks/>
          </p:cNvCxnSpPr>
          <p:nvPr/>
        </p:nvCxnSpPr>
        <p:spPr>
          <a:xfrm>
            <a:off x="1065945" y="4695411"/>
            <a:ext cx="143294" cy="35597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9B2810A0-73F8-6CEF-0989-CF30558112AA}"/>
              </a:ext>
            </a:extLst>
          </p:cNvPr>
          <p:cNvCxnSpPr>
            <a:cxnSpLocks/>
          </p:cNvCxnSpPr>
          <p:nvPr/>
        </p:nvCxnSpPr>
        <p:spPr>
          <a:xfrm>
            <a:off x="1222310" y="5104874"/>
            <a:ext cx="148576" cy="229369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A937602-2808-8A36-A2B0-3BDE43AB551A}"/>
              </a:ext>
            </a:extLst>
          </p:cNvPr>
          <p:cNvCxnSpPr>
            <a:cxnSpLocks/>
          </p:cNvCxnSpPr>
          <p:nvPr/>
        </p:nvCxnSpPr>
        <p:spPr>
          <a:xfrm>
            <a:off x="1408102" y="5363290"/>
            <a:ext cx="234000" cy="288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49CBB930-81A7-0018-01BF-528FD2ACBC01}"/>
              </a:ext>
            </a:extLst>
          </p:cNvPr>
          <p:cNvCxnSpPr>
            <a:cxnSpLocks/>
          </p:cNvCxnSpPr>
          <p:nvPr/>
        </p:nvCxnSpPr>
        <p:spPr>
          <a:xfrm>
            <a:off x="1656000" y="5659200"/>
            <a:ext cx="265899" cy="14989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A9BDE16-25BF-7822-A972-46F443F65473}"/>
              </a:ext>
            </a:extLst>
          </p:cNvPr>
          <p:cNvCxnSpPr>
            <a:cxnSpLocks/>
          </p:cNvCxnSpPr>
          <p:nvPr/>
        </p:nvCxnSpPr>
        <p:spPr>
          <a:xfrm>
            <a:off x="1944000" y="5832000"/>
            <a:ext cx="288000" cy="11927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EF2466BB-FE3E-0B65-02AA-58CA20D83B8F}"/>
              </a:ext>
            </a:extLst>
          </p:cNvPr>
          <p:cNvCxnSpPr>
            <a:cxnSpLocks/>
            <a:endCxn id="26" idx="7"/>
          </p:cNvCxnSpPr>
          <p:nvPr/>
        </p:nvCxnSpPr>
        <p:spPr>
          <a:xfrm>
            <a:off x="6018931" y="3507598"/>
            <a:ext cx="175702" cy="1116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E1F70D32-C9D7-5358-FE8A-9D8671ED5203}"/>
              </a:ext>
            </a:extLst>
          </p:cNvPr>
          <p:cNvCxnSpPr>
            <a:cxnSpLocks/>
          </p:cNvCxnSpPr>
          <p:nvPr/>
        </p:nvCxnSpPr>
        <p:spPr>
          <a:xfrm>
            <a:off x="6283195" y="4737643"/>
            <a:ext cx="2340038" cy="288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624CD6E6-26B2-AE37-3AF6-DDD45C61B102}"/>
              </a:ext>
            </a:extLst>
          </p:cNvPr>
          <p:cNvCxnSpPr>
            <a:cxnSpLocks/>
          </p:cNvCxnSpPr>
          <p:nvPr/>
        </p:nvCxnSpPr>
        <p:spPr>
          <a:xfrm flipH="1">
            <a:off x="6516555" y="5074848"/>
            <a:ext cx="1977431" cy="252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03323B73-F5FB-D741-C150-828A09611986}"/>
              </a:ext>
            </a:extLst>
          </p:cNvPr>
          <p:cNvCxnSpPr>
            <a:cxnSpLocks/>
          </p:cNvCxnSpPr>
          <p:nvPr/>
        </p:nvCxnSpPr>
        <p:spPr>
          <a:xfrm flipV="1">
            <a:off x="6568751" y="5328000"/>
            <a:ext cx="1836000" cy="108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CA8BB881-AA9E-3294-32CB-E9760189593C}"/>
              </a:ext>
            </a:extLst>
          </p:cNvPr>
          <p:cNvCxnSpPr>
            <a:cxnSpLocks/>
          </p:cNvCxnSpPr>
          <p:nvPr/>
        </p:nvCxnSpPr>
        <p:spPr>
          <a:xfrm flipH="1">
            <a:off x="6948000" y="5401075"/>
            <a:ext cx="1440000" cy="324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1C512FEC-427C-C3C6-805D-C8934699E8D1}"/>
              </a:ext>
            </a:extLst>
          </p:cNvPr>
          <p:cNvCxnSpPr>
            <a:cxnSpLocks/>
          </p:cNvCxnSpPr>
          <p:nvPr/>
        </p:nvCxnSpPr>
        <p:spPr>
          <a:xfrm flipV="1">
            <a:off x="7000007" y="5652000"/>
            <a:ext cx="1188000" cy="144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Textfeld 94">
            <a:extLst>
              <a:ext uri="{FF2B5EF4-FFF2-40B4-BE49-F238E27FC236}">
                <a16:creationId xmlns:a16="http://schemas.microsoft.com/office/drawing/2014/main" id="{DAC00019-E737-3CAC-ACB1-02BFD9FBE6D0}"/>
              </a:ext>
            </a:extLst>
          </p:cNvPr>
          <p:cNvSpPr txBox="1"/>
          <p:nvPr/>
        </p:nvSpPr>
        <p:spPr>
          <a:xfrm>
            <a:off x="6734576" y="3411373"/>
            <a:ext cx="15580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Große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Lernrate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545D7250-0D1B-0D0B-D801-E7C7DAE0BD7D}"/>
              </a:ext>
            </a:extLst>
          </p:cNvPr>
          <p:cNvSpPr txBox="1"/>
          <p:nvPr/>
        </p:nvSpPr>
        <p:spPr>
          <a:xfrm>
            <a:off x="1630731" y="3411373"/>
            <a:ext cx="15580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Niedrige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Lernrate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5268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892629E6-AC22-5D9A-9C6F-A4502B16DE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787750"/>
              </p:ext>
            </p:extLst>
          </p:nvPr>
        </p:nvGraphicFramePr>
        <p:xfrm>
          <a:off x="2023695" y="4267003"/>
          <a:ext cx="2181155" cy="219600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351155">
                  <a:extLst>
                    <a:ext uri="{9D8B030D-6E8A-4147-A177-3AD203B41FA5}">
                      <a16:colId xmlns:a16="http://schemas.microsoft.com/office/drawing/2014/main" val="250686775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45473042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9831003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859586056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06594189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39281570"/>
                    </a:ext>
                  </a:extLst>
                </a:gridCol>
              </a:tblGrid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748593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14378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434214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527240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414706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38119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9F60E78-FB0F-E1BE-5AB5-D5A4874B7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522904"/>
              </p:ext>
            </p:extLst>
          </p:nvPr>
        </p:nvGraphicFramePr>
        <p:xfrm>
          <a:off x="2023695" y="1338745"/>
          <a:ext cx="2196000" cy="21945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366000">
                  <a:extLst>
                    <a:ext uri="{9D8B030D-6E8A-4147-A177-3AD203B41FA5}">
                      <a16:colId xmlns:a16="http://schemas.microsoft.com/office/drawing/2014/main" val="250686775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45473042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9831003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859586056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06594189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39281570"/>
                    </a:ext>
                  </a:extLst>
                </a:gridCol>
              </a:tblGrid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748593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14378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434214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527240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414706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381199"/>
                  </a:ext>
                </a:extLst>
              </a:tr>
            </a:tbl>
          </a:graphicData>
        </a:graphic>
      </p:graphicFrame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224DB861-318D-E9D7-C989-E2F8C8D4A9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2615446"/>
              </p:ext>
            </p:extLst>
          </p:nvPr>
        </p:nvGraphicFramePr>
        <p:xfrm>
          <a:off x="4951412" y="4267003"/>
          <a:ext cx="900000" cy="90000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74880038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443699794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95839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2137973"/>
                  </a:ext>
                </a:extLst>
              </a:tr>
            </a:tbl>
          </a:graphicData>
        </a:graphic>
      </p:graphicFrame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92713EF4-5D4E-8083-75E3-81B2B93CA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42023"/>
              </p:ext>
            </p:extLst>
          </p:nvPr>
        </p:nvGraphicFramePr>
        <p:xfrm>
          <a:off x="5131412" y="5923003"/>
          <a:ext cx="540000" cy="5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766886083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771702"/>
                  </a:ext>
                </a:extLst>
              </a:tr>
            </a:tbl>
          </a:graphicData>
        </a:graphic>
      </p:graphicFrame>
      <p:graphicFrame>
        <p:nvGraphicFramePr>
          <p:cNvPr id="8" name="Tabelle 6">
            <a:extLst>
              <a:ext uri="{FF2B5EF4-FFF2-40B4-BE49-F238E27FC236}">
                <a16:creationId xmlns:a16="http://schemas.microsoft.com/office/drawing/2014/main" id="{7241F26F-861F-73D9-C378-F640356C80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593217"/>
              </p:ext>
            </p:extLst>
          </p:nvPr>
        </p:nvGraphicFramePr>
        <p:xfrm>
          <a:off x="4951412" y="1338745"/>
          <a:ext cx="900000" cy="90000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74880038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443699794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95839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2137973"/>
                  </a:ext>
                </a:extLst>
              </a:tr>
            </a:tbl>
          </a:graphicData>
        </a:graphic>
      </p:graphicFrame>
      <p:graphicFrame>
        <p:nvGraphicFramePr>
          <p:cNvPr id="9" name="Tabelle 7">
            <a:extLst>
              <a:ext uri="{FF2B5EF4-FFF2-40B4-BE49-F238E27FC236}">
                <a16:creationId xmlns:a16="http://schemas.microsoft.com/office/drawing/2014/main" id="{A4747C98-E1D0-A243-F9D2-7E41892AA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101184"/>
              </p:ext>
            </p:extLst>
          </p:nvPr>
        </p:nvGraphicFramePr>
        <p:xfrm>
          <a:off x="5128384" y="2993305"/>
          <a:ext cx="540000" cy="5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766886083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771702"/>
                  </a:ext>
                </a:extLst>
              </a:tr>
            </a:tbl>
          </a:graphicData>
        </a:graphic>
      </p:graphicFrame>
      <p:graphicFrame>
        <p:nvGraphicFramePr>
          <p:cNvPr id="10" name="Tabelle 10">
            <a:extLst>
              <a:ext uri="{FF2B5EF4-FFF2-40B4-BE49-F238E27FC236}">
                <a16:creationId xmlns:a16="http://schemas.microsoft.com/office/drawing/2014/main" id="{1E717A4A-252B-0EC4-EFD3-8E899D76A0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238431"/>
              </p:ext>
            </p:extLst>
          </p:nvPr>
        </p:nvGraphicFramePr>
        <p:xfrm>
          <a:off x="6760101" y="1788745"/>
          <a:ext cx="1440000" cy="14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136956231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9242567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105518415"/>
                    </a:ext>
                  </a:extLst>
                </a:gridCol>
              </a:tblGrid>
              <a:tr h="48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4531459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817387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0513294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172C1E7E-E809-3F9E-5D41-4E69B3655D20}"/>
              </a:ext>
            </a:extLst>
          </p:cNvPr>
          <p:cNvSpPr txBox="1"/>
          <p:nvPr/>
        </p:nvSpPr>
        <p:spPr>
          <a:xfrm>
            <a:off x="4951412" y="938635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1A94002-A361-0AF5-B625-8811337472DE}"/>
              </a:ext>
            </a:extLst>
          </p:cNvPr>
          <p:cNvSpPr txBox="1"/>
          <p:nvPr/>
        </p:nvSpPr>
        <p:spPr>
          <a:xfrm>
            <a:off x="4951412" y="3914521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CE9BD1A-252B-1ED5-A3E8-853A8D7F1721}"/>
              </a:ext>
            </a:extLst>
          </p:cNvPr>
          <p:cNvSpPr txBox="1"/>
          <p:nvPr/>
        </p:nvSpPr>
        <p:spPr>
          <a:xfrm>
            <a:off x="5040686" y="2606859"/>
            <a:ext cx="8107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ia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9DDBD89-4DE5-371E-7BC8-FB4AE85ADC49}"/>
              </a:ext>
            </a:extLst>
          </p:cNvPr>
          <p:cNvSpPr txBox="1"/>
          <p:nvPr/>
        </p:nvSpPr>
        <p:spPr>
          <a:xfrm>
            <a:off x="5040686" y="5535117"/>
            <a:ext cx="8107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ias</a:t>
            </a:r>
          </a:p>
        </p:txBody>
      </p:sp>
      <p:graphicFrame>
        <p:nvGraphicFramePr>
          <p:cNvPr id="15" name="Tabelle 10">
            <a:extLst>
              <a:ext uri="{FF2B5EF4-FFF2-40B4-BE49-F238E27FC236}">
                <a16:creationId xmlns:a16="http://schemas.microsoft.com/office/drawing/2014/main" id="{262AB5A0-0DB3-A6B7-C2B2-6BB66229B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913726"/>
              </p:ext>
            </p:extLst>
          </p:nvPr>
        </p:nvGraphicFramePr>
        <p:xfrm>
          <a:off x="6760101" y="4645003"/>
          <a:ext cx="1440000" cy="14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136956231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9242567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105518415"/>
                    </a:ext>
                  </a:extLst>
                </a:gridCol>
              </a:tblGrid>
              <a:tr h="48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4531459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817387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0513294"/>
                  </a:ext>
                </a:extLst>
              </a:tr>
            </a:tbl>
          </a:graphicData>
        </a:graphic>
      </p:graphicFrame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283F1A1-192D-5D22-978B-6228F1C8533A}"/>
              </a:ext>
            </a:extLst>
          </p:cNvPr>
          <p:cNvCxnSpPr/>
          <p:nvPr/>
        </p:nvCxnSpPr>
        <p:spPr>
          <a:xfrm>
            <a:off x="4270465" y="5365003"/>
            <a:ext cx="23400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2384012-3FF3-721D-9A84-2F387D8A15C8}"/>
              </a:ext>
            </a:extLst>
          </p:cNvPr>
          <p:cNvCxnSpPr/>
          <p:nvPr/>
        </p:nvCxnSpPr>
        <p:spPr>
          <a:xfrm>
            <a:off x="4270465" y="2439036"/>
            <a:ext cx="23400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A53E5DA-AE8C-817C-3AED-E760FADCC56C}"/>
              </a:ext>
            </a:extLst>
          </p:cNvPr>
          <p:cNvCxnSpPr/>
          <p:nvPr/>
        </p:nvCxnSpPr>
        <p:spPr>
          <a:xfrm>
            <a:off x="2023695" y="4114576"/>
            <a:ext cx="720000" cy="0"/>
          </a:xfrm>
          <a:prstGeom prst="straightConnector1">
            <a:avLst/>
          </a:prstGeom>
          <a:ln w="28575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FA06370A-DFAD-7A23-917F-1BC557D3DEEF}"/>
              </a:ext>
            </a:extLst>
          </p:cNvPr>
          <p:cNvSpPr txBox="1"/>
          <p:nvPr/>
        </p:nvSpPr>
        <p:spPr>
          <a:xfrm>
            <a:off x="1878590" y="3714466"/>
            <a:ext cx="1730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chrittweit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ACD7CCB-E87C-BD13-BEDA-9DA4EFF59D69}"/>
              </a:ext>
            </a:extLst>
          </p:cNvPr>
          <p:cNvSpPr txBox="1"/>
          <p:nvPr/>
        </p:nvSpPr>
        <p:spPr>
          <a:xfrm>
            <a:off x="2023694" y="6488668"/>
            <a:ext cx="20351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dding-Reih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A17251A-70AB-4B40-2927-C1184EBFA95A}"/>
              </a:ext>
            </a:extLst>
          </p:cNvPr>
          <p:cNvSpPr txBox="1"/>
          <p:nvPr/>
        </p:nvSpPr>
        <p:spPr>
          <a:xfrm>
            <a:off x="302452" y="2308690"/>
            <a:ext cx="13107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chritt 1: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E73D7B9-8082-F461-B7C5-39639E069627}"/>
              </a:ext>
            </a:extLst>
          </p:cNvPr>
          <p:cNvSpPr txBox="1"/>
          <p:nvPr/>
        </p:nvSpPr>
        <p:spPr>
          <a:xfrm>
            <a:off x="302452" y="5135007"/>
            <a:ext cx="13107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chritt 2: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BAB91A8-8A49-94F8-A8E9-A18964CB04FE}"/>
              </a:ext>
            </a:extLst>
          </p:cNvPr>
          <p:cNvSpPr txBox="1"/>
          <p:nvPr/>
        </p:nvSpPr>
        <p:spPr>
          <a:xfrm>
            <a:off x="2743695" y="912970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39301DB-48EB-0CF5-25E9-87D879405786}"/>
              </a:ext>
            </a:extLst>
          </p:cNvPr>
          <p:cNvSpPr txBox="1"/>
          <p:nvPr/>
        </p:nvSpPr>
        <p:spPr>
          <a:xfrm>
            <a:off x="1072925" y="1240765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ch</a:t>
            </a:r>
          </a:p>
        </p:txBody>
      </p:sp>
    </p:spTree>
    <p:extLst>
      <p:ext uri="{BB962C8B-B14F-4D97-AF65-F5344CB8AC3E}">
        <p14:creationId xmlns:p14="http://schemas.microsoft.com/office/powerpoint/2010/main" val="14622166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2B3DF48-0742-BFDB-A8A8-DB749F0E54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" y="0"/>
            <a:ext cx="9902825" cy="356216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AFA7D88-78DB-120A-A6C8-D5590E6599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93306" y="3562167"/>
            <a:ext cx="9809517" cy="329583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BEF5800-D5A0-1171-A613-07EB1751DFDE}"/>
              </a:ext>
            </a:extLst>
          </p:cNvPr>
          <p:cNvSpPr txBox="1"/>
          <p:nvPr/>
        </p:nvSpPr>
        <p:spPr>
          <a:xfrm>
            <a:off x="1814273" y="293944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Lärmpunktzahl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233AA92-3C71-501E-D551-A9E9FB443AA4}"/>
              </a:ext>
            </a:extLst>
          </p:cNvPr>
          <p:cNvSpPr txBox="1"/>
          <p:nvPr/>
        </p:nvSpPr>
        <p:spPr>
          <a:xfrm>
            <a:off x="1655651" y="3736940"/>
            <a:ext cx="235651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Materialflusskosten</a:t>
            </a:r>
          </a:p>
        </p:txBody>
      </p:sp>
    </p:spTree>
    <p:extLst>
      <p:ext uri="{BB962C8B-B14F-4D97-AF65-F5344CB8AC3E}">
        <p14:creationId xmlns:p14="http://schemas.microsoft.com/office/powerpoint/2010/main" val="7031030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EF21DA6D-BBED-C1FA-5E38-9721B7977300}"/>
              </a:ext>
            </a:extLst>
          </p:cNvPr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2" y="1279461"/>
            <a:ext cx="8896707" cy="40005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948C0B0B-1A93-8D6B-FBDD-213B0674C4CC}"/>
              </a:ext>
            </a:extLst>
          </p:cNvPr>
          <p:cNvSpPr txBox="1"/>
          <p:nvPr/>
        </p:nvSpPr>
        <p:spPr>
          <a:xfrm rot="16200000">
            <a:off x="-5408" y="2772165"/>
            <a:ext cx="2069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Kosten (in €)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31B9A03-4F59-4004-F27D-2FB80F6F33B5}"/>
              </a:ext>
            </a:extLst>
          </p:cNvPr>
          <p:cNvSpPr txBox="1"/>
          <p:nvPr/>
        </p:nvSpPr>
        <p:spPr>
          <a:xfrm>
            <a:off x="1334278" y="4896000"/>
            <a:ext cx="1129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lanung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C974244-8281-D417-3331-B1018DA2C3CF}"/>
              </a:ext>
            </a:extLst>
          </p:cNvPr>
          <p:cNvSpPr txBox="1"/>
          <p:nvPr/>
        </p:nvSpPr>
        <p:spPr>
          <a:xfrm>
            <a:off x="2537927" y="4896000"/>
            <a:ext cx="16157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Konstruk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1FCAB6-A920-CF3D-AC4C-EF98C9618A1C}"/>
              </a:ext>
            </a:extLst>
          </p:cNvPr>
          <p:cNvSpPr txBox="1"/>
          <p:nvPr/>
        </p:nvSpPr>
        <p:spPr>
          <a:xfrm>
            <a:off x="4104000" y="4896000"/>
            <a:ext cx="12814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Fertigun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327FA21-4B2F-0BD5-FEBB-1112694B2F5D}"/>
              </a:ext>
            </a:extLst>
          </p:cNvPr>
          <p:cNvSpPr txBox="1"/>
          <p:nvPr/>
        </p:nvSpPr>
        <p:spPr>
          <a:xfrm>
            <a:off x="5436000" y="4896000"/>
            <a:ext cx="12814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Inbetrieb-nahme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DBAFCF-74CB-9ABA-4A71-CE0BD7000B86}"/>
              </a:ext>
            </a:extLst>
          </p:cNvPr>
          <p:cNvSpPr txBox="1"/>
          <p:nvPr/>
        </p:nvSpPr>
        <p:spPr>
          <a:xfrm>
            <a:off x="6948000" y="4896000"/>
            <a:ext cx="1129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Betrieb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950A311-7933-2A2E-1575-2A3018DBA9E5}"/>
              </a:ext>
            </a:extLst>
          </p:cNvPr>
          <p:cNvSpPr txBox="1"/>
          <p:nvPr/>
        </p:nvSpPr>
        <p:spPr>
          <a:xfrm>
            <a:off x="5632299" y="1962000"/>
            <a:ext cx="18802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 für Veränderungen</a:t>
            </a:r>
          </a:p>
        </p:txBody>
      </p:sp>
    </p:spTree>
    <p:extLst>
      <p:ext uri="{BB962C8B-B14F-4D97-AF65-F5344CB8AC3E}">
        <p14:creationId xmlns:p14="http://schemas.microsoft.com/office/powerpoint/2010/main" val="32914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E6191FB-F98D-609F-6DE0-2D597313534B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" y="-1"/>
            <a:ext cx="9907921" cy="34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682A00A-E922-8227-B255-00FF467100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270588" y="3438002"/>
            <a:ext cx="9632237" cy="34200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EEFF3FC-0974-9130-888A-79326D656BC0}"/>
              </a:ext>
            </a:extLst>
          </p:cNvPr>
          <p:cNvSpPr txBox="1"/>
          <p:nvPr/>
        </p:nvSpPr>
        <p:spPr>
          <a:xfrm>
            <a:off x="1581007" y="1386833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Rückläuf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4F33DB0-BD14-6090-2D41-7222D61DFE2D}"/>
              </a:ext>
            </a:extLst>
          </p:cNvPr>
          <p:cNvSpPr txBox="1"/>
          <p:nvPr/>
        </p:nvSpPr>
        <p:spPr>
          <a:xfrm>
            <a:off x="1581007" y="3790251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Belohnung</a:t>
            </a:r>
          </a:p>
        </p:txBody>
      </p:sp>
    </p:spTree>
    <p:extLst>
      <p:ext uri="{BB962C8B-B14F-4D97-AF65-F5344CB8AC3E}">
        <p14:creationId xmlns:p14="http://schemas.microsoft.com/office/powerpoint/2010/main" val="1691191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D1FDE8E-C924-3957-BED1-94A53018B314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" y="0"/>
            <a:ext cx="9902825" cy="34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AEBDF3A-4CD0-14A3-C799-4A56BBDA5946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0" y="3438001"/>
            <a:ext cx="9902825" cy="34200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D89471D6-5F1E-539D-EE57-C7AD4D2D62D7}"/>
              </a:ext>
            </a:extLst>
          </p:cNvPr>
          <p:cNvSpPr txBox="1"/>
          <p:nvPr/>
        </p:nvSpPr>
        <p:spPr>
          <a:xfrm>
            <a:off x="1553265" y="316940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Lärmpunktzahl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9060809-B32E-4DD7-2AFC-FFAC330A2071}"/>
              </a:ext>
            </a:extLst>
          </p:cNvPr>
          <p:cNvSpPr txBox="1"/>
          <p:nvPr/>
        </p:nvSpPr>
        <p:spPr>
          <a:xfrm>
            <a:off x="1487700" y="5862102"/>
            <a:ext cx="235651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Materialflusskost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46948FA-9213-09DA-9DF3-B4C5B9DE02D8}"/>
              </a:ext>
            </a:extLst>
          </p:cNvPr>
          <p:cNvSpPr txBox="1"/>
          <p:nvPr/>
        </p:nvSpPr>
        <p:spPr>
          <a:xfrm>
            <a:off x="1431463" y="3513406"/>
            <a:ext cx="3254571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338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Lärm 50%</a:t>
            </a:r>
          </a:p>
          <a:p>
            <a:r>
              <a:rPr lang="de-DE" b="1" dirty="0">
                <a:solidFill>
                  <a:srgbClr val="0FA3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Rückläufe 50%</a:t>
            </a:r>
          </a:p>
          <a:p>
            <a:r>
              <a:rPr lang="de-DE" b="1" dirty="0">
                <a:solidFill>
                  <a:srgbClr val="EB35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läufe 50%, Lärm 50%</a:t>
            </a:r>
          </a:p>
        </p:txBody>
      </p:sp>
    </p:spTree>
    <p:extLst>
      <p:ext uri="{BB962C8B-B14F-4D97-AF65-F5344CB8AC3E}">
        <p14:creationId xmlns:p14="http://schemas.microsoft.com/office/powerpoint/2010/main" val="33458885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26D5BC1-437E-E6F5-A00A-D31F62701973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" y="0"/>
            <a:ext cx="9902825" cy="34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203566B-C243-4770-C2B0-68EB24954261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0" y="3438001"/>
            <a:ext cx="9902825" cy="34200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6D862D7-842F-66F2-8061-696F2F2A4565}"/>
              </a:ext>
            </a:extLst>
          </p:cNvPr>
          <p:cNvSpPr txBox="1"/>
          <p:nvPr/>
        </p:nvSpPr>
        <p:spPr>
          <a:xfrm>
            <a:off x="1487701" y="910972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Rückläuf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8E9BB39-BFCD-E735-F901-721D96BADA1D}"/>
              </a:ext>
            </a:extLst>
          </p:cNvPr>
          <p:cNvSpPr txBox="1"/>
          <p:nvPr/>
        </p:nvSpPr>
        <p:spPr>
          <a:xfrm>
            <a:off x="1422386" y="4620675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Belohn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AAD5086-E068-593B-1844-5567DACA4882}"/>
              </a:ext>
            </a:extLst>
          </p:cNvPr>
          <p:cNvSpPr txBox="1"/>
          <p:nvPr/>
        </p:nvSpPr>
        <p:spPr>
          <a:xfrm>
            <a:off x="1487701" y="1923334"/>
            <a:ext cx="3373548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338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Lärm 50%</a:t>
            </a:r>
          </a:p>
          <a:p>
            <a:r>
              <a:rPr lang="de-DE" b="1" dirty="0">
                <a:solidFill>
                  <a:srgbClr val="0FA3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Rückläufe 50%</a:t>
            </a:r>
          </a:p>
          <a:p>
            <a:r>
              <a:rPr lang="de-DE" b="1" dirty="0">
                <a:solidFill>
                  <a:srgbClr val="EB35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läufe 50%, Lärm 50%</a:t>
            </a:r>
          </a:p>
        </p:txBody>
      </p:sp>
    </p:spTree>
    <p:extLst>
      <p:ext uri="{BB962C8B-B14F-4D97-AF65-F5344CB8AC3E}">
        <p14:creationId xmlns:p14="http://schemas.microsoft.com/office/powerpoint/2010/main" val="1964717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>
            <a:extLst>
              <a:ext uri="{FF2B5EF4-FFF2-40B4-BE49-F238E27FC236}">
                <a16:creationId xmlns:a16="http://schemas.microsoft.com/office/drawing/2014/main" id="{4699323F-1191-CB7D-20C7-4CE6A213D353}"/>
              </a:ext>
            </a:extLst>
          </p:cNvPr>
          <p:cNvSpPr/>
          <p:nvPr/>
        </p:nvSpPr>
        <p:spPr>
          <a:xfrm>
            <a:off x="4788000" y="2772000"/>
            <a:ext cx="2448000" cy="2448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006D2F0-8C1E-AF1D-A308-9160CA29B4B5}"/>
              </a:ext>
            </a:extLst>
          </p:cNvPr>
          <p:cNvSpPr/>
          <p:nvPr/>
        </p:nvSpPr>
        <p:spPr>
          <a:xfrm>
            <a:off x="2952000" y="2772000"/>
            <a:ext cx="2448000" cy="2448000"/>
          </a:xfrm>
          <a:prstGeom prst="ellipse">
            <a:avLst/>
          </a:prstGeom>
          <a:solidFill>
            <a:schemeClr val="lt1">
              <a:alpha val="28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9DC38970-92DF-C814-1B5B-CC46A0C976CD}"/>
              </a:ext>
            </a:extLst>
          </p:cNvPr>
          <p:cNvSpPr/>
          <p:nvPr/>
        </p:nvSpPr>
        <p:spPr>
          <a:xfrm>
            <a:off x="3871411" y="1116000"/>
            <a:ext cx="2448000" cy="2448000"/>
          </a:xfrm>
          <a:prstGeom prst="ellipse">
            <a:avLst/>
          </a:prstGeom>
          <a:solidFill>
            <a:schemeClr val="lt1">
              <a:alpha val="4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B735050-E589-1775-5239-3703134C65D3}"/>
              </a:ext>
            </a:extLst>
          </p:cNvPr>
          <p:cNvSpPr txBox="1"/>
          <p:nvPr/>
        </p:nvSpPr>
        <p:spPr>
          <a:xfrm>
            <a:off x="2974999" y="3089993"/>
            <a:ext cx="16808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ocia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ctr"/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ccesibility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intenance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istance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D8BE6DC-CC37-F445-3A9F-555FF05D2D31}"/>
              </a:ext>
            </a:extLst>
          </p:cNvPr>
          <p:cNvSpPr txBox="1"/>
          <p:nvPr/>
        </p:nvSpPr>
        <p:spPr>
          <a:xfrm>
            <a:off x="3984228" y="1492029"/>
            <a:ext cx="22223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lanet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Environment)</a:t>
            </a:r>
          </a:p>
          <a:p>
            <a:pPr algn="ctr"/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ast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Managemen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8704073-9BD4-9EDA-5BDB-6F63BB374B48}"/>
              </a:ext>
            </a:extLst>
          </p:cNvPr>
          <p:cNvSpPr txBox="1"/>
          <p:nvPr/>
        </p:nvSpPr>
        <p:spPr>
          <a:xfrm>
            <a:off x="5206818" y="3089993"/>
            <a:ext cx="22223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rofit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Economy)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terial Handling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s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arrangemen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s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651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>
            <a:extLst>
              <a:ext uri="{FF2B5EF4-FFF2-40B4-BE49-F238E27FC236}">
                <a16:creationId xmlns:a16="http://schemas.microsoft.com/office/drawing/2014/main" id="{4699323F-1191-CB7D-20C7-4CE6A213D353}"/>
              </a:ext>
            </a:extLst>
          </p:cNvPr>
          <p:cNvSpPr/>
          <p:nvPr/>
        </p:nvSpPr>
        <p:spPr>
          <a:xfrm>
            <a:off x="4228185" y="3151173"/>
            <a:ext cx="3780000" cy="3240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006D2F0-8C1E-AF1D-A308-9160CA29B4B5}"/>
              </a:ext>
            </a:extLst>
          </p:cNvPr>
          <p:cNvSpPr/>
          <p:nvPr/>
        </p:nvSpPr>
        <p:spPr>
          <a:xfrm>
            <a:off x="1677203" y="3168452"/>
            <a:ext cx="3600000" cy="3240000"/>
          </a:xfrm>
          <a:prstGeom prst="ellipse">
            <a:avLst/>
          </a:prstGeom>
          <a:solidFill>
            <a:schemeClr val="lt1">
              <a:alpha val="28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9DC38970-92DF-C814-1B5B-CC46A0C976CD}"/>
              </a:ext>
            </a:extLst>
          </p:cNvPr>
          <p:cNvSpPr/>
          <p:nvPr/>
        </p:nvSpPr>
        <p:spPr>
          <a:xfrm>
            <a:off x="2908901" y="890674"/>
            <a:ext cx="3600000" cy="3240000"/>
          </a:xfrm>
          <a:prstGeom prst="ellipse">
            <a:avLst/>
          </a:prstGeom>
          <a:solidFill>
            <a:schemeClr val="lt1">
              <a:alpha val="4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B735050-E589-1775-5239-3703134C65D3}"/>
              </a:ext>
            </a:extLst>
          </p:cNvPr>
          <p:cNvSpPr txBox="1"/>
          <p:nvPr/>
        </p:nvSpPr>
        <p:spPr>
          <a:xfrm>
            <a:off x="2035427" y="3829777"/>
            <a:ext cx="231712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Velo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istributio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istance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terial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tim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D8BE6DC-CC37-F445-3A9F-555FF05D2D31}"/>
              </a:ext>
            </a:extLst>
          </p:cNvPr>
          <p:cNvSpPr txBox="1"/>
          <p:nvPr/>
        </p:nvSpPr>
        <p:spPr>
          <a:xfrm>
            <a:off x="3477203" y="1379568"/>
            <a:ext cx="29484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Vol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terial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handl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s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acility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im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eriod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duct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achine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8704073-9BD4-9EDA-5BDB-6F63BB374B48}"/>
              </a:ext>
            </a:extLst>
          </p:cNvPr>
          <p:cNvSpPr txBox="1"/>
          <p:nvPr/>
        </p:nvSpPr>
        <p:spPr>
          <a:xfrm>
            <a:off x="5322981" y="3675565"/>
            <a:ext cx="273353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Vari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ccessibility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inte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ast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Hazardou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ovemen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arrangemen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s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No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yp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lexibility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59D1CC8B-45B2-F104-4198-4B9ED0AC9683}"/>
              </a:ext>
            </a:extLst>
          </p:cNvPr>
          <p:cNvSpPr/>
          <p:nvPr/>
        </p:nvSpPr>
        <p:spPr>
          <a:xfrm>
            <a:off x="4032000" y="3240000"/>
            <a:ext cx="1368000" cy="1368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B8DCE98-F2E1-88BB-E7AB-A6F53FE4F01F}"/>
              </a:ext>
            </a:extLst>
          </p:cNvPr>
          <p:cNvSpPr txBox="1"/>
          <p:nvPr/>
        </p:nvSpPr>
        <p:spPr>
          <a:xfrm>
            <a:off x="4356000" y="3672000"/>
            <a:ext cx="720000" cy="360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V‘s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162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llipse 45">
            <a:extLst>
              <a:ext uri="{FF2B5EF4-FFF2-40B4-BE49-F238E27FC236}">
                <a16:creationId xmlns:a16="http://schemas.microsoft.com/office/drawing/2014/main" id="{CBF76209-9CDC-45D5-B8FB-B0894C61871F}"/>
              </a:ext>
            </a:extLst>
          </p:cNvPr>
          <p:cNvSpPr/>
          <p:nvPr/>
        </p:nvSpPr>
        <p:spPr>
          <a:xfrm>
            <a:off x="3243033" y="1096005"/>
            <a:ext cx="5411109" cy="4189464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Flussdiagramm: Verbinder 15">
            <a:extLst>
              <a:ext uri="{FF2B5EF4-FFF2-40B4-BE49-F238E27FC236}">
                <a16:creationId xmlns:a16="http://schemas.microsoft.com/office/drawing/2014/main" id="{33F2EFF2-1D64-45E5-A2E3-29C88EBF30AC}"/>
              </a:ext>
            </a:extLst>
          </p:cNvPr>
          <p:cNvSpPr/>
          <p:nvPr/>
        </p:nvSpPr>
        <p:spPr>
          <a:xfrm>
            <a:off x="3871412" y="1988138"/>
            <a:ext cx="2160000" cy="216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0F99E289-21CC-42AB-98AF-E5A6591227C2}"/>
              </a:ext>
            </a:extLst>
          </p:cNvPr>
          <p:cNvSpPr/>
          <p:nvPr/>
        </p:nvSpPr>
        <p:spPr>
          <a:xfrm>
            <a:off x="487725" y="548050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lussdiagramm: Verbinder 7">
            <a:extLst>
              <a:ext uri="{FF2B5EF4-FFF2-40B4-BE49-F238E27FC236}">
                <a16:creationId xmlns:a16="http://schemas.microsoft.com/office/drawing/2014/main" id="{D50C5A56-2B51-4E0B-9E37-2080FFBE9A10}"/>
              </a:ext>
            </a:extLst>
          </p:cNvPr>
          <p:cNvSpPr/>
          <p:nvPr/>
        </p:nvSpPr>
        <p:spPr>
          <a:xfrm>
            <a:off x="487725" y="1629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lussdiagramm: Verbinder 8">
            <a:extLst>
              <a:ext uri="{FF2B5EF4-FFF2-40B4-BE49-F238E27FC236}">
                <a16:creationId xmlns:a16="http://schemas.microsoft.com/office/drawing/2014/main" id="{E9106FAE-068C-41D8-836F-4080403E5BCF}"/>
              </a:ext>
            </a:extLst>
          </p:cNvPr>
          <p:cNvSpPr/>
          <p:nvPr/>
        </p:nvSpPr>
        <p:spPr>
          <a:xfrm>
            <a:off x="487725" y="27086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35FB070F-C43D-4721-BCCA-B86A8815439A}"/>
              </a:ext>
            </a:extLst>
          </p:cNvPr>
          <p:cNvSpPr/>
          <p:nvPr/>
        </p:nvSpPr>
        <p:spPr>
          <a:xfrm>
            <a:off x="487725" y="3788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600580FA-4788-46CB-8741-60D191ABF111}"/>
              </a:ext>
            </a:extLst>
          </p:cNvPr>
          <p:cNvSpPr/>
          <p:nvPr/>
        </p:nvSpPr>
        <p:spPr>
          <a:xfrm>
            <a:off x="487725" y="5521834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ussdiagramm: Verbinder 11">
            <a:extLst>
              <a:ext uri="{FF2B5EF4-FFF2-40B4-BE49-F238E27FC236}">
                <a16:creationId xmlns:a16="http://schemas.microsoft.com/office/drawing/2014/main" id="{19D42FDA-E2FE-4CCA-811F-19670335650D}"/>
              </a:ext>
            </a:extLst>
          </p:cNvPr>
          <p:cNvSpPr/>
          <p:nvPr/>
        </p:nvSpPr>
        <p:spPr>
          <a:xfrm>
            <a:off x="811725" y="470562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lussdiagramm: Verbinder 12">
            <a:extLst>
              <a:ext uri="{FF2B5EF4-FFF2-40B4-BE49-F238E27FC236}">
                <a16:creationId xmlns:a16="http://schemas.microsoft.com/office/drawing/2014/main" id="{CBC83226-AC92-445F-862B-7385E3906A00}"/>
              </a:ext>
            </a:extLst>
          </p:cNvPr>
          <p:cNvSpPr/>
          <p:nvPr/>
        </p:nvSpPr>
        <p:spPr>
          <a:xfrm>
            <a:off x="811725" y="4975102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E9252311-02B5-4365-9B72-E06E4D34BAFE}"/>
              </a:ext>
            </a:extLst>
          </p:cNvPr>
          <p:cNvSpPr/>
          <p:nvPr/>
        </p:nvSpPr>
        <p:spPr>
          <a:xfrm>
            <a:off x="811725" y="524846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Additionszeichen 14">
            <a:extLst>
              <a:ext uri="{FF2B5EF4-FFF2-40B4-BE49-F238E27FC236}">
                <a16:creationId xmlns:a16="http://schemas.microsoft.com/office/drawing/2014/main" id="{8B1067FE-7477-4FC0-8150-6DD362323822}"/>
              </a:ext>
            </a:extLst>
          </p:cNvPr>
          <p:cNvSpPr/>
          <p:nvPr/>
        </p:nvSpPr>
        <p:spPr>
          <a:xfrm>
            <a:off x="3911048" y="2129823"/>
            <a:ext cx="2080727" cy="1877629"/>
          </a:xfrm>
          <a:prstGeom prst="mathPlus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A1D0BC2-365E-428B-93DD-B74C5A8AC5F0}"/>
              </a:ext>
            </a:extLst>
          </p:cNvPr>
          <p:cNvCxnSpPr>
            <a:stCxn id="5" idx="6"/>
          </p:cNvCxnSpPr>
          <p:nvPr/>
        </p:nvCxnSpPr>
        <p:spPr>
          <a:xfrm>
            <a:off x="1207725" y="908050"/>
            <a:ext cx="3121679" cy="130330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744E4A5-3FD3-40A0-AD99-84AE4F44F197}"/>
              </a:ext>
            </a:extLst>
          </p:cNvPr>
          <p:cNvCxnSpPr>
            <a:cxnSpLocks/>
          </p:cNvCxnSpPr>
          <p:nvPr/>
        </p:nvCxnSpPr>
        <p:spPr>
          <a:xfrm>
            <a:off x="1207724" y="1977985"/>
            <a:ext cx="2804439" cy="618457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617EDF94-584F-4B84-8EDF-75BD6D91828E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 flipV="1">
            <a:off x="1207725" y="3068138"/>
            <a:ext cx="2663687" cy="50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57E772B-B6C7-415A-89B7-7E705EF75A9C}"/>
              </a:ext>
            </a:extLst>
          </p:cNvPr>
          <p:cNvCxnSpPr>
            <a:cxnSpLocks/>
            <a:stCxn id="10" idx="6"/>
          </p:cNvCxnSpPr>
          <p:nvPr/>
        </p:nvCxnSpPr>
        <p:spPr>
          <a:xfrm flipV="1">
            <a:off x="1207725" y="3590656"/>
            <a:ext cx="2804438" cy="55748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FA48EC1-48DF-42BC-95F0-268343F6EA51}"/>
              </a:ext>
            </a:extLst>
          </p:cNvPr>
          <p:cNvCxnSpPr>
            <a:cxnSpLocks/>
            <a:stCxn id="11" idx="6"/>
          </p:cNvCxnSpPr>
          <p:nvPr/>
        </p:nvCxnSpPr>
        <p:spPr>
          <a:xfrm flipV="1">
            <a:off x="1207725" y="3950656"/>
            <a:ext cx="3121679" cy="193117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70747FBB-4047-43DE-9F72-6ADE864EED2B}"/>
              </a:ext>
            </a:extLst>
          </p:cNvPr>
          <p:cNvSpPr txBox="1"/>
          <p:nvPr/>
        </p:nvSpPr>
        <p:spPr>
          <a:xfrm>
            <a:off x="2163730" y="952231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5CB571C-DBEB-4711-9907-40986403D949}"/>
              </a:ext>
            </a:extLst>
          </p:cNvPr>
          <p:cNvSpPr txBox="1"/>
          <p:nvPr/>
        </p:nvSpPr>
        <p:spPr>
          <a:xfrm>
            <a:off x="2163729" y="1824037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CCEE5DD-9032-4E6C-8F50-6707485A7257}"/>
              </a:ext>
            </a:extLst>
          </p:cNvPr>
          <p:cNvSpPr txBox="1"/>
          <p:nvPr/>
        </p:nvSpPr>
        <p:spPr>
          <a:xfrm>
            <a:off x="2163730" y="2668028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AFFECC9C-C7DA-4BE6-A93D-5FA80CBB2501}"/>
              </a:ext>
            </a:extLst>
          </p:cNvPr>
          <p:cNvSpPr txBox="1"/>
          <p:nvPr/>
        </p:nvSpPr>
        <p:spPr>
          <a:xfrm>
            <a:off x="2163728" y="3466322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DA26DD5-9274-447A-AA96-5534E84EEE59}"/>
              </a:ext>
            </a:extLst>
          </p:cNvPr>
          <p:cNvSpPr txBox="1"/>
          <p:nvPr/>
        </p:nvSpPr>
        <p:spPr>
          <a:xfrm>
            <a:off x="2163727" y="4640753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FC2AC6F-2DC8-483F-984F-23E2B82B48E0}"/>
              </a:ext>
            </a:extLst>
          </p:cNvPr>
          <p:cNvCxnSpPr>
            <a:cxnSpLocks/>
          </p:cNvCxnSpPr>
          <p:nvPr/>
        </p:nvCxnSpPr>
        <p:spPr>
          <a:xfrm>
            <a:off x="6017461" y="3068638"/>
            <a:ext cx="72857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63E56976-4353-47DF-AC0D-46302E2393E3}"/>
              </a:ext>
            </a:extLst>
          </p:cNvPr>
          <p:cNvSpPr/>
          <p:nvPr/>
        </p:nvSpPr>
        <p:spPr>
          <a:xfrm>
            <a:off x="6746032" y="2627129"/>
            <a:ext cx="1660849" cy="882018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ktivierungs-Funktion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59A2E711-2C9C-4F22-BAAF-9CC85885EFCA}"/>
              </a:ext>
            </a:extLst>
          </p:cNvPr>
          <p:cNvCxnSpPr>
            <a:cxnSpLocks/>
          </p:cNvCxnSpPr>
          <p:nvPr/>
        </p:nvCxnSpPr>
        <p:spPr>
          <a:xfrm>
            <a:off x="8406881" y="3068638"/>
            <a:ext cx="494523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32991347-5D8E-444E-9757-03FE63245828}"/>
              </a:ext>
            </a:extLst>
          </p:cNvPr>
          <p:cNvSpPr txBox="1"/>
          <p:nvPr/>
        </p:nvSpPr>
        <p:spPr>
          <a:xfrm>
            <a:off x="8901404" y="2868583"/>
            <a:ext cx="9707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B2610FBE-ADF0-48D9-93A3-B894910F8C50}"/>
              </a:ext>
            </a:extLst>
          </p:cNvPr>
          <p:cNvSpPr txBox="1"/>
          <p:nvPr/>
        </p:nvSpPr>
        <p:spPr>
          <a:xfrm>
            <a:off x="5573422" y="743397"/>
            <a:ext cx="10262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Neuron</a:t>
            </a:r>
          </a:p>
        </p:txBody>
      </p:sp>
    </p:spTree>
    <p:extLst>
      <p:ext uri="{BB962C8B-B14F-4D97-AF65-F5344CB8AC3E}">
        <p14:creationId xmlns:p14="http://schemas.microsoft.com/office/powerpoint/2010/main" val="26641292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0F99E289-21CC-42AB-98AF-E5A6591227C2}"/>
              </a:ext>
            </a:extLst>
          </p:cNvPr>
          <p:cNvSpPr/>
          <p:nvPr/>
        </p:nvSpPr>
        <p:spPr>
          <a:xfrm>
            <a:off x="281421" y="548050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lussdiagramm: Verbinder 7">
            <a:extLst>
              <a:ext uri="{FF2B5EF4-FFF2-40B4-BE49-F238E27FC236}">
                <a16:creationId xmlns:a16="http://schemas.microsoft.com/office/drawing/2014/main" id="{D50C5A56-2B51-4E0B-9E37-2080FFBE9A10}"/>
              </a:ext>
            </a:extLst>
          </p:cNvPr>
          <p:cNvSpPr/>
          <p:nvPr/>
        </p:nvSpPr>
        <p:spPr>
          <a:xfrm>
            <a:off x="281421" y="1629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lussdiagramm: Verbinder 8">
            <a:extLst>
              <a:ext uri="{FF2B5EF4-FFF2-40B4-BE49-F238E27FC236}">
                <a16:creationId xmlns:a16="http://schemas.microsoft.com/office/drawing/2014/main" id="{E9106FAE-068C-41D8-836F-4080403E5BCF}"/>
              </a:ext>
            </a:extLst>
          </p:cNvPr>
          <p:cNvSpPr/>
          <p:nvPr/>
        </p:nvSpPr>
        <p:spPr>
          <a:xfrm>
            <a:off x="281421" y="27086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35FB070F-C43D-4721-BCCA-B86A8815439A}"/>
              </a:ext>
            </a:extLst>
          </p:cNvPr>
          <p:cNvSpPr/>
          <p:nvPr/>
        </p:nvSpPr>
        <p:spPr>
          <a:xfrm>
            <a:off x="281421" y="3788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600580FA-4788-46CB-8741-60D191ABF111}"/>
              </a:ext>
            </a:extLst>
          </p:cNvPr>
          <p:cNvSpPr/>
          <p:nvPr/>
        </p:nvSpPr>
        <p:spPr>
          <a:xfrm>
            <a:off x="281421" y="5521834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ussdiagramm: Verbinder 11">
            <a:extLst>
              <a:ext uri="{FF2B5EF4-FFF2-40B4-BE49-F238E27FC236}">
                <a16:creationId xmlns:a16="http://schemas.microsoft.com/office/drawing/2014/main" id="{19D42FDA-E2FE-4CCA-811F-19670335650D}"/>
              </a:ext>
            </a:extLst>
          </p:cNvPr>
          <p:cNvSpPr/>
          <p:nvPr/>
        </p:nvSpPr>
        <p:spPr>
          <a:xfrm>
            <a:off x="605421" y="470562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lussdiagramm: Verbinder 12">
            <a:extLst>
              <a:ext uri="{FF2B5EF4-FFF2-40B4-BE49-F238E27FC236}">
                <a16:creationId xmlns:a16="http://schemas.microsoft.com/office/drawing/2014/main" id="{CBC83226-AC92-445F-862B-7385E3906A00}"/>
              </a:ext>
            </a:extLst>
          </p:cNvPr>
          <p:cNvSpPr/>
          <p:nvPr/>
        </p:nvSpPr>
        <p:spPr>
          <a:xfrm>
            <a:off x="605421" y="4975102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E9252311-02B5-4365-9B72-E06E4D34BAFE}"/>
              </a:ext>
            </a:extLst>
          </p:cNvPr>
          <p:cNvSpPr/>
          <p:nvPr/>
        </p:nvSpPr>
        <p:spPr>
          <a:xfrm>
            <a:off x="605421" y="524846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A1D0BC2-365E-428B-93DD-B74C5A8AC5F0}"/>
              </a:ext>
            </a:extLst>
          </p:cNvPr>
          <p:cNvCxnSpPr>
            <a:cxnSpLocks/>
            <a:stCxn id="5" idx="7"/>
          </p:cNvCxnSpPr>
          <p:nvPr/>
        </p:nvCxnSpPr>
        <p:spPr>
          <a:xfrm flipV="1">
            <a:off x="895979" y="363894"/>
            <a:ext cx="1894846" cy="28959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32991347-5D8E-444E-9757-03FE63245828}"/>
              </a:ext>
            </a:extLst>
          </p:cNvPr>
          <p:cNvSpPr txBox="1"/>
          <p:nvPr/>
        </p:nvSpPr>
        <p:spPr>
          <a:xfrm>
            <a:off x="8605478" y="2344025"/>
            <a:ext cx="1232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Output 1</a:t>
            </a:r>
          </a:p>
        </p:txBody>
      </p:sp>
      <p:sp>
        <p:nvSpPr>
          <p:cNvPr id="40" name="Flussdiagramm: Verbinder 39">
            <a:extLst>
              <a:ext uri="{FF2B5EF4-FFF2-40B4-BE49-F238E27FC236}">
                <a16:creationId xmlns:a16="http://schemas.microsoft.com/office/drawing/2014/main" id="{70A191A7-E7F0-4042-9AE9-B521EA3AC046}"/>
              </a:ext>
            </a:extLst>
          </p:cNvPr>
          <p:cNvSpPr/>
          <p:nvPr/>
        </p:nvSpPr>
        <p:spPr>
          <a:xfrm>
            <a:off x="2952625" y="278050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2CFCE6DA-EBB3-4146-B339-6FD02B0BE77B}"/>
              </a:ext>
            </a:extLst>
          </p:cNvPr>
          <p:cNvSpPr/>
          <p:nvPr/>
        </p:nvSpPr>
        <p:spPr>
          <a:xfrm>
            <a:off x="2952625" y="1719138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Flussdiagramm: Verbinder 44">
            <a:extLst>
              <a:ext uri="{FF2B5EF4-FFF2-40B4-BE49-F238E27FC236}">
                <a16:creationId xmlns:a16="http://schemas.microsoft.com/office/drawing/2014/main" id="{1D6F0DF3-2812-4D20-9D0B-604AFE7579E8}"/>
              </a:ext>
            </a:extLst>
          </p:cNvPr>
          <p:cNvSpPr/>
          <p:nvPr/>
        </p:nvSpPr>
        <p:spPr>
          <a:xfrm>
            <a:off x="2952625" y="3195133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Flussdiagramm: Verbinder 47">
            <a:extLst>
              <a:ext uri="{FF2B5EF4-FFF2-40B4-BE49-F238E27FC236}">
                <a16:creationId xmlns:a16="http://schemas.microsoft.com/office/drawing/2014/main" id="{A9B9C0F7-BB16-4824-904C-0719F2E6A801}"/>
              </a:ext>
            </a:extLst>
          </p:cNvPr>
          <p:cNvSpPr/>
          <p:nvPr/>
        </p:nvSpPr>
        <p:spPr>
          <a:xfrm>
            <a:off x="2947495" y="5191777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33BA76B3-FAC2-4386-A562-2273CC2AAA4A}"/>
              </a:ext>
            </a:extLst>
          </p:cNvPr>
          <p:cNvCxnSpPr>
            <a:cxnSpLocks/>
          </p:cNvCxnSpPr>
          <p:nvPr/>
        </p:nvCxnSpPr>
        <p:spPr>
          <a:xfrm>
            <a:off x="1001421" y="823823"/>
            <a:ext cx="1804937" cy="8953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BE277F1A-A897-404B-A9A9-D69FBA37323F}"/>
              </a:ext>
            </a:extLst>
          </p:cNvPr>
          <p:cNvCxnSpPr>
            <a:cxnSpLocks/>
          </p:cNvCxnSpPr>
          <p:nvPr/>
        </p:nvCxnSpPr>
        <p:spPr>
          <a:xfrm>
            <a:off x="1001421" y="1060393"/>
            <a:ext cx="1789404" cy="213474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F097AC0D-68AB-4F03-B94F-92B9DEB8504E}"/>
              </a:ext>
            </a:extLst>
          </p:cNvPr>
          <p:cNvCxnSpPr>
            <a:cxnSpLocks/>
            <a:stCxn id="8" idx="7"/>
          </p:cNvCxnSpPr>
          <p:nvPr/>
        </p:nvCxnSpPr>
        <p:spPr>
          <a:xfrm flipV="1">
            <a:off x="895979" y="457200"/>
            <a:ext cx="1910379" cy="127738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E0E14CEB-1593-4C4C-9A0C-AF9F550FBC25}"/>
              </a:ext>
            </a:extLst>
          </p:cNvPr>
          <p:cNvCxnSpPr>
            <a:cxnSpLocks/>
            <a:stCxn id="9" idx="7"/>
          </p:cNvCxnSpPr>
          <p:nvPr/>
        </p:nvCxnSpPr>
        <p:spPr>
          <a:xfrm flipV="1">
            <a:off x="895979" y="616166"/>
            <a:ext cx="1882206" cy="219791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FB0E0A8A-990F-40FE-9353-0DB266596A3E}"/>
              </a:ext>
            </a:extLst>
          </p:cNvPr>
          <p:cNvCxnSpPr>
            <a:cxnSpLocks/>
          </p:cNvCxnSpPr>
          <p:nvPr/>
        </p:nvCxnSpPr>
        <p:spPr>
          <a:xfrm flipV="1">
            <a:off x="791632" y="943068"/>
            <a:ext cx="2014726" cy="457876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3D7AF14E-E7BD-46EA-88AC-EC0F4595C17B}"/>
              </a:ext>
            </a:extLst>
          </p:cNvPr>
          <p:cNvCxnSpPr>
            <a:cxnSpLocks/>
          </p:cNvCxnSpPr>
          <p:nvPr/>
        </p:nvCxnSpPr>
        <p:spPr>
          <a:xfrm flipV="1">
            <a:off x="791632" y="818050"/>
            <a:ext cx="1986553" cy="299385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5F6DEFCC-CCA0-4ED3-A55D-BC3864428F5B}"/>
              </a:ext>
            </a:extLst>
          </p:cNvPr>
          <p:cNvCxnSpPr>
            <a:cxnSpLocks/>
          </p:cNvCxnSpPr>
          <p:nvPr/>
        </p:nvCxnSpPr>
        <p:spPr>
          <a:xfrm flipV="1">
            <a:off x="1001421" y="1853825"/>
            <a:ext cx="1814953" cy="92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CF50D5A9-7266-4750-9DE1-A90BCF18037B}"/>
              </a:ext>
            </a:extLst>
          </p:cNvPr>
          <p:cNvCxnSpPr>
            <a:cxnSpLocks/>
            <a:stCxn id="9" idx="6"/>
          </p:cNvCxnSpPr>
          <p:nvPr/>
        </p:nvCxnSpPr>
        <p:spPr>
          <a:xfrm>
            <a:off x="1001421" y="3068638"/>
            <a:ext cx="1795485" cy="36036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C101086B-E34B-40CD-B254-DDFC85E4637B}"/>
              </a:ext>
            </a:extLst>
          </p:cNvPr>
          <p:cNvCxnSpPr>
            <a:cxnSpLocks/>
          </p:cNvCxnSpPr>
          <p:nvPr/>
        </p:nvCxnSpPr>
        <p:spPr>
          <a:xfrm flipV="1">
            <a:off x="1001421" y="1943153"/>
            <a:ext cx="1795485" cy="97676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3DBEEF88-6B1E-4653-A01A-C2692AB54DE7}"/>
              </a:ext>
            </a:extLst>
          </p:cNvPr>
          <p:cNvCxnSpPr>
            <a:cxnSpLocks/>
          </p:cNvCxnSpPr>
          <p:nvPr/>
        </p:nvCxnSpPr>
        <p:spPr>
          <a:xfrm>
            <a:off x="829821" y="1230724"/>
            <a:ext cx="1961004" cy="37756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86C6DD76-F95D-41CF-9F6C-7CA54A1E3F03}"/>
              </a:ext>
            </a:extLst>
          </p:cNvPr>
          <p:cNvCxnSpPr>
            <a:cxnSpLocks/>
            <a:stCxn id="10" idx="6"/>
          </p:cNvCxnSpPr>
          <p:nvPr/>
        </p:nvCxnSpPr>
        <p:spPr>
          <a:xfrm flipV="1">
            <a:off x="1001421" y="3529329"/>
            <a:ext cx="1804937" cy="61880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D0CC00D-7ED4-452A-9959-70AE27739CCD}"/>
              </a:ext>
            </a:extLst>
          </p:cNvPr>
          <p:cNvCxnSpPr>
            <a:cxnSpLocks/>
            <a:stCxn id="11" idx="7"/>
          </p:cNvCxnSpPr>
          <p:nvPr/>
        </p:nvCxnSpPr>
        <p:spPr>
          <a:xfrm flipV="1">
            <a:off x="895979" y="2259138"/>
            <a:ext cx="1910379" cy="33681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EDE7F5BC-E6F3-44DC-ABB4-ABD20E2DDDF3}"/>
              </a:ext>
            </a:extLst>
          </p:cNvPr>
          <p:cNvCxnSpPr>
            <a:cxnSpLocks/>
          </p:cNvCxnSpPr>
          <p:nvPr/>
        </p:nvCxnSpPr>
        <p:spPr>
          <a:xfrm>
            <a:off x="1001421" y="2099213"/>
            <a:ext cx="1795485" cy="12219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5A0B473-42B4-438D-BF8B-30028431263B}"/>
              </a:ext>
            </a:extLst>
          </p:cNvPr>
          <p:cNvCxnSpPr>
            <a:cxnSpLocks/>
            <a:stCxn id="10" idx="7"/>
          </p:cNvCxnSpPr>
          <p:nvPr/>
        </p:nvCxnSpPr>
        <p:spPr>
          <a:xfrm flipV="1">
            <a:off x="895979" y="2071396"/>
            <a:ext cx="1910379" cy="18221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9CDC6551-15E0-40D6-AC18-5853A215375A}"/>
              </a:ext>
            </a:extLst>
          </p:cNvPr>
          <p:cNvCxnSpPr>
            <a:cxnSpLocks/>
            <a:stCxn id="9" idx="5"/>
          </p:cNvCxnSpPr>
          <p:nvPr/>
        </p:nvCxnSpPr>
        <p:spPr>
          <a:xfrm>
            <a:off x="895979" y="3323196"/>
            <a:ext cx="1875303" cy="207718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4E35365D-390D-4648-ADFB-2D19B572E41A}"/>
              </a:ext>
            </a:extLst>
          </p:cNvPr>
          <p:cNvCxnSpPr>
            <a:cxnSpLocks/>
          </p:cNvCxnSpPr>
          <p:nvPr/>
        </p:nvCxnSpPr>
        <p:spPr>
          <a:xfrm flipV="1">
            <a:off x="933295" y="5666038"/>
            <a:ext cx="1873063" cy="38771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39FB15A3-00C1-4967-8D7A-492288E6EAC2}"/>
              </a:ext>
            </a:extLst>
          </p:cNvPr>
          <p:cNvCxnSpPr>
            <a:cxnSpLocks/>
            <a:stCxn id="10" idx="5"/>
          </p:cNvCxnSpPr>
          <p:nvPr/>
        </p:nvCxnSpPr>
        <p:spPr>
          <a:xfrm>
            <a:off x="895979" y="4402696"/>
            <a:ext cx="1880389" cy="115537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4AC39B94-D565-4975-A0A6-08DF002A85AB}"/>
              </a:ext>
            </a:extLst>
          </p:cNvPr>
          <p:cNvCxnSpPr>
            <a:cxnSpLocks/>
          </p:cNvCxnSpPr>
          <p:nvPr/>
        </p:nvCxnSpPr>
        <p:spPr>
          <a:xfrm>
            <a:off x="873351" y="2268934"/>
            <a:ext cx="1917474" cy="296939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05B80031-8A64-4B86-AD08-97B223E69F32}"/>
              </a:ext>
            </a:extLst>
          </p:cNvPr>
          <p:cNvCxnSpPr>
            <a:cxnSpLocks/>
            <a:stCxn id="11" idx="6"/>
          </p:cNvCxnSpPr>
          <p:nvPr/>
        </p:nvCxnSpPr>
        <p:spPr>
          <a:xfrm flipV="1">
            <a:off x="1001421" y="3652312"/>
            <a:ext cx="1804937" cy="222952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Flussdiagramm: Verbinder 171">
            <a:extLst>
              <a:ext uri="{FF2B5EF4-FFF2-40B4-BE49-F238E27FC236}">
                <a16:creationId xmlns:a16="http://schemas.microsoft.com/office/drawing/2014/main" id="{8DE3D7A8-6337-4301-BE5B-C05A1D7E5B64}"/>
              </a:ext>
            </a:extLst>
          </p:cNvPr>
          <p:cNvSpPr/>
          <p:nvPr/>
        </p:nvSpPr>
        <p:spPr>
          <a:xfrm>
            <a:off x="5685283" y="279275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Flussdiagramm: Verbinder 172">
            <a:extLst>
              <a:ext uri="{FF2B5EF4-FFF2-40B4-BE49-F238E27FC236}">
                <a16:creationId xmlns:a16="http://schemas.microsoft.com/office/drawing/2014/main" id="{7C79F630-22DE-4BF5-A253-707ED5BF0E3E}"/>
              </a:ext>
            </a:extLst>
          </p:cNvPr>
          <p:cNvSpPr/>
          <p:nvPr/>
        </p:nvSpPr>
        <p:spPr>
          <a:xfrm>
            <a:off x="5685283" y="1708982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Flussdiagramm: Verbinder 173">
            <a:extLst>
              <a:ext uri="{FF2B5EF4-FFF2-40B4-BE49-F238E27FC236}">
                <a16:creationId xmlns:a16="http://schemas.microsoft.com/office/drawing/2014/main" id="{5529A017-8865-4069-B13D-4C50C877CBC6}"/>
              </a:ext>
            </a:extLst>
          </p:cNvPr>
          <p:cNvSpPr/>
          <p:nvPr/>
        </p:nvSpPr>
        <p:spPr>
          <a:xfrm>
            <a:off x="5685283" y="3151282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Flussdiagramm: Verbinder 174">
            <a:extLst>
              <a:ext uri="{FF2B5EF4-FFF2-40B4-BE49-F238E27FC236}">
                <a16:creationId xmlns:a16="http://schemas.microsoft.com/office/drawing/2014/main" id="{8FDF84ED-6D62-40C5-A2F2-EAF968992DD2}"/>
              </a:ext>
            </a:extLst>
          </p:cNvPr>
          <p:cNvSpPr/>
          <p:nvPr/>
        </p:nvSpPr>
        <p:spPr>
          <a:xfrm>
            <a:off x="5685283" y="5191777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Flussdiagramm: Verbinder 175">
            <a:extLst>
              <a:ext uri="{FF2B5EF4-FFF2-40B4-BE49-F238E27FC236}">
                <a16:creationId xmlns:a16="http://schemas.microsoft.com/office/drawing/2014/main" id="{6988A4DC-27E0-469A-8879-F477377E7BB1}"/>
              </a:ext>
            </a:extLst>
          </p:cNvPr>
          <p:cNvSpPr/>
          <p:nvPr/>
        </p:nvSpPr>
        <p:spPr>
          <a:xfrm>
            <a:off x="3781550" y="537094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7" name="Flussdiagramm: Verbinder 176">
            <a:extLst>
              <a:ext uri="{FF2B5EF4-FFF2-40B4-BE49-F238E27FC236}">
                <a16:creationId xmlns:a16="http://schemas.microsoft.com/office/drawing/2014/main" id="{FC2CFB30-D84C-4FF0-9705-F70CD8F02B61}"/>
              </a:ext>
            </a:extLst>
          </p:cNvPr>
          <p:cNvSpPr/>
          <p:nvPr/>
        </p:nvSpPr>
        <p:spPr>
          <a:xfrm>
            <a:off x="4105150" y="537094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8" name="Flussdiagramm: Verbinder 177">
            <a:extLst>
              <a:ext uri="{FF2B5EF4-FFF2-40B4-BE49-F238E27FC236}">
                <a16:creationId xmlns:a16="http://schemas.microsoft.com/office/drawing/2014/main" id="{6A4339AC-A011-4FD3-B840-81BC8DEA3AB7}"/>
              </a:ext>
            </a:extLst>
          </p:cNvPr>
          <p:cNvSpPr/>
          <p:nvPr/>
        </p:nvSpPr>
        <p:spPr>
          <a:xfrm>
            <a:off x="4428750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9" name="Flussdiagramm: Verbinder 178">
            <a:extLst>
              <a:ext uri="{FF2B5EF4-FFF2-40B4-BE49-F238E27FC236}">
                <a16:creationId xmlns:a16="http://schemas.microsoft.com/office/drawing/2014/main" id="{5604C1FC-BD77-4367-9140-D745EF1A94FF}"/>
              </a:ext>
            </a:extLst>
          </p:cNvPr>
          <p:cNvSpPr/>
          <p:nvPr/>
        </p:nvSpPr>
        <p:spPr>
          <a:xfrm>
            <a:off x="4752350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0" name="Flussdiagramm: Verbinder 179">
            <a:extLst>
              <a:ext uri="{FF2B5EF4-FFF2-40B4-BE49-F238E27FC236}">
                <a16:creationId xmlns:a16="http://schemas.microsoft.com/office/drawing/2014/main" id="{19BDF7F0-A2B1-4B65-9578-E8461504445F}"/>
              </a:ext>
            </a:extLst>
          </p:cNvPr>
          <p:cNvSpPr/>
          <p:nvPr/>
        </p:nvSpPr>
        <p:spPr>
          <a:xfrm>
            <a:off x="5074083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1" name="Flussdiagramm: Verbinder 180">
            <a:extLst>
              <a:ext uri="{FF2B5EF4-FFF2-40B4-BE49-F238E27FC236}">
                <a16:creationId xmlns:a16="http://schemas.microsoft.com/office/drawing/2014/main" id="{93067F21-BB5D-47FA-9C89-C13B9BF23DFE}"/>
              </a:ext>
            </a:extLst>
          </p:cNvPr>
          <p:cNvSpPr/>
          <p:nvPr/>
        </p:nvSpPr>
        <p:spPr>
          <a:xfrm>
            <a:off x="5397683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2" name="Flussdiagramm: Verbinder 181">
            <a:extLst>
              <a:ext uri="{FF2B5EF4-FFF2-40B4-BE49-F238E27FC236}">
                <a16:creationId xmlns:a16="http://schemas.microsoft.com/office/drawing/2014/main" id="{BFC0C7B7-93D9-4342-BDF8-A0E34A50CDE0}"/>
              </a:ext>
            </a:extLst>
          </p:cNvPr>
          <p:cNvSpPr/>
          <p:nvPr/>
        </p:nvSpPr>
        <p:spPr>
          <a:xfrm>
            <a:off x="3745550" y="51768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3" name="Flussdiagramm: Verbinder 182">
            <a:extLst>
              <a:ext uri="{FF2B5EF4-FFF2-40B4-BE49-F238E27FC236}">
                <a16:creationId xmlns:a16="http://schemas.microsoft.com/office/drawing/2014/main" id="{3C0D0E83-942C-43BA-8FE3-F28A8601FB81}"/>
              </a:ext>
            </a:extLst>
          </p:cNvPr>
          <p:cNvSpPr/>
          <p:nvPr/>
        </p:nvSpPr>
        <p:spPr>
          <a:xfrm>
            <a:off x="4069150" y="51768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4" name="Flussdiagramm: Verbinder 183">
            <a:extLst>
              <a:ext uri="{FF2B5EF4-FFF2-40B4-BE49-F238E27FC236}">
                <a16:creationId xmlns:a16="http://schemas.microsoft.com/office/drawing/2014/main" id="{B67F0038-81C4-4CBA-8023-D0366991A7EA}"/>
              </a:ext>
            </a:extLst>
          </p:cNvPr>
          <p:cNvSpPr/>
          <p:nvPr/>
        </p:nvSpPr>
        <p:spPr>
          <a:xfrm>
            <a:off x="4392750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5" name="Flussdiagramm: Verbinder 184">
            <a:extLst>
              <a:ext uri="{FF2B5EF4-FFF2-40B4-BE49-F238E27FC236}">
                <a16:creationId xmlns:a16="http://schemas.microsoft.com/office/drawing/2014/main" id="{261EB3AA-EC11-495B-9E7E-0D30596094C7}"/>
              </a:ext>
            </a:extLst>
          </p:cNvPr>
          <p:cNvSpPr/>
          <p:nvPr/>
        </p:nvSpPr>
        <p:spPr>
          <a:xfrm>
            <a:off x="4716350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6" name="Flussdiagramm: Verbinder 185">
            <a:extLst>
              <a:ext uri="{FF2B5EF4-FFF2-40B4-BE49-F238E27FC236}">
                <a16:creationId xmlns:a16="http://schemas.microsoft.com/office/drawing/2014/main" id="{12E1FF7D-5E24-42F1-9BF6-BC487751FCE8}"/>
              </a:ext>
            </a:extLst>
          </p:cNvPr>
          <p:cNvSpPr/>
          <p:nvPr/>
        </p:nvSpPr>
        <p:spPr>
          <a:xfrm>
            <a:off x="5038083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7" name="Flussdiagramm: Verbinder 186">
            <a:extLst>
              <a:ext uri="{FF2B5EF4-FFF2-40B4-BE49-F238E27FC236}">
                <a16:creationId xmlns:a16="http://schemas.microsoft.com/office/drawing/2014/main" id="{C4734513-7A57-4160-A731-28B37E907EFA}"/>
              </a:ext>
            </a:extLst>
          </p:cNvPr>
          <p:cNvSpPr/>
          <p:nvPr/>
        </p:nvSpPr>
        <p:spPr>
          <a:xfrm>
            <a:off x="5361683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8" name="Flussdiagramm: Verbinder 187">
            <a:extLst>
              <a:ext uri="{FF2B5EF4-FFF2-40B4-BE49-F238E27FC236}">
                <a16:creationId xmlns:a16="http://schemas.microsoft.com/office/drawing/2014/main" id="{F66A1A0C-DF63-4905-9C7A-68507337C918}"/>
              </a:ext>
            </a:extLst>
          </p:cNvPr>
          <p:cNvSpPr/>
          <p:nvPr/>
        </p:nvSpPr>
        <p:spPr>
          <a:xfrm>
            <a:off x="3179744" y="3896615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9" name="Flussdiagramm: Verbinder 188">
            <a:extLst>
              <a:ext uri="{FF2B5EF4-FFF2-40B4-BE49-F238E27FC236}">
                <a16:creationId xmlns:a16="http://schemas.microsoft.com/office/drawing/2014/main" id="{C04BE8E0-3FF4-48CB-A9E3-9064A4FCBEE2}"/>
              </a:ext>
            </a:extLst>
          </p:cNvPr>
          <p:cNvSpPr/>
          <p:nvPr/>
        </p:nvSpPr>
        <p:spPr>
          <a:xfrm>
            <a:off x="3179744" y="4151531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0" name="Flussdiagramm: Verbinder 189">
            <a:extLst>
              <a:ext uri="{FF2B5EF4-FFF2-40B4-BE49-F238E27FC236}">
                <a16:creationId xmlns:a16="http://schemas.microsoft.com/office/drawing/2014/main" id="{AC354452-BF53-4CF0-8952-5D3E11FC005E}"/>
              </a:ext>
            </a:extLst>
          </p:cNvPr>
          <p:cNvSpPr/>
          <p:nvPr/>
        </p:nvSpPr>
        <p:spPr>
          <a:xfrm>
            <a:off x="3179744" y="441673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1" name="Flussdiagramm: Verbinder 190">
            <a:extLst>
              <a:ext uri="{FF2B5EF4-FFF2-40B4-BE49-F238E27FC236}">
                <a16:creationId xmlns:a16="http://schemas.microsoft.com/office/drawing/2014/main" id="{DCB6194F-3A4E-404A-AFFF-578641C9090F}"/>
              </a:ext>
            </a:extLst>
          </p:cNvPr>
          <p:cNvSpPr/>
          <p:nvPr/>
        </p:nvSpPr>
        <p:spPr>
          <a:xfrm>
            <a:off x="3179744" y="4652813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2" name="Flussdiagramm: Verbinder 191">
            <a:extLst>
              <a:ext uri="{FF2B5EF4-FFF2-40B4-BE49-F238E27FC236}">
                <a16:creationId xmlns:a16="http://schemas.microsoft.com/office/drawing/2014/main" id="{797F6A92-5C4C-4D33-A7B2-E5D42589F2C8}"/>
              </a:ext>
            </a:extLst>
          </p:cNvPr>
          <p:cNvSpPr/>
          <p:nvPr/>
        </p:nvSpPr>
        <p:spPr>
          <a:xfrm>
            <a:off x="3179744" y="492339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4" name="Geschweifte Klammer rechts 193">
            <a:extLst>
              <a:ext uri="{FF2B5EF4-FFF2-40B4-BE49-F238E27FC236}">
                <a16:creationId xmlns:a16="http://schemas.microsoft.com/office/drawing/2014/main" id="{40E7EE49-74D0-4164-B2DB-C65AEC452721}"/>
              </a:ext>
            </a:extLst>
          </p:cNvPr>
          <p:cNvSpPr/>
          <p:nvPr/>
        </p:nvSpPr>
        <p:spPr>
          <a:xfrm rot="5400000">
            <a:off x="4317716" y="4246714"/>
            <a:ext cx="536640" cy="355935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07D00A27-BB98-4523-A4EC-7EF9CEF7E64C}"/>
              </a:ext>
            </a:extLst>
          </p:cNvPr>
          <p:cNvSpPr txBox="1"/>
          <p:nvPr/>
        </p:nvSpPr>
        <p:spPr>
          <a:xfrm>
            <a:off x="184078" y="6319414"/>
            <a:ext cx="16346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nput-Layer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8FBD6EE1-06F7-4358-9487-AE53E6B6C3BA}"/>
              </a:ext>
            </a:extLst>
          </p:cNvPr>
          <p:cNvSpPr txBox="1"/>
          <p:nvPr/>
        </p:nvSpPr>
        <p:spPr>
          <a:xfrm>
            <a:off x="3781550" y="6304441"/>
            <a:ext cx="17107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Hidden Layer</a:t>
            </a:r>
          </a:p>
        </p:txBody>
      </p:sp>
      <p:sp>
        <p:nvSpPr>
          <p:cNvPr id="203" name="Flussdiagramm: Verbinder 202">
            <a:extLst>
              <a:ext uri="{FF2B5EF4-FFF2-40B4-BE49-F238E27FC236}">
                <a16:creationId xmlns:a16="http://schemas.microsoft.com/office/drawing/2014/main" id="{17AACFAD-6CC9-475E-9B2B-9D94E23B54ED}"/>
              </a:ext>
            </a:extLst>
          </p:cNvPr>
          <p:cNvSpPr/>
          <p:nvPr/>
        </p:nvSpPr>
        <p:spPr>
          <a:xfrm>
            <a:off x="7293343" y="2274080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Flussdiagramm: Verbinder 203">
            <a:extLst>
              <a:ext uri="{FF2B5EF4-FFF2-40B4-BE49-F238E27FC236}">
                <a16:creationId xmlns:a16="http://schemas.microsoft.com/office/drawing/2014/main" id="{B7AD5F68-0A7A-4510-A66B-78990848E344}"/>
              </a:ext>
            </a:extLst>
          </p:cNvPr>
          <p:cNvSpPr/>
          <p:nvPr/>
        </p:nvSpPr>
        <p:spPr>
          <a:xfrm>
            <a:off x="7293343" y="4067040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Textfeld 204">
            <a:extLst>
              <a:ext uri="{FF2B5EF4-FFF2-40B4-BE49-F238E27FC236}">
                <a16:creationId xmlns:a16="http://schemas.microsoft.com/office/drawing/2014/main" id="{20AA3F87-A72C-4D79-8E6B-2C485466D9EA}"/>
              </a:ext>
            </a:extLst>
          </p:cNvPr>
          <p:cNvSpPr txBox="1"/>
          <p:nvPr/>
        </p:nvSpPr>
        <p:spPr>
          <a:xfrm>
            <a:off x="8605478" y="4136500"/>
            <a:ext cx="1232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Output 2</a:t>
            </a:r>
          </a:p>
        </p:txBody>
      </p:sp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FC953C6F-F339-4F85-8E00-E003D60E5085}"/>
              </a:ext>
            </a:extLst>
          </p:cNvPr>
          <p:cNvCxnSpPr>
            <a:cxnSpLocks/>
          </p:cNvCxnSpPr>
          <p:nvPr/>
        </p:nvCxnSpPr>
        <p:spPr>
          <a:xfrm>
            <a:off x="6174793" y="1988615"/>
            <a:ext cx="937207" cy="47487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1033D777-5F43-44B6-879A-EE405F9717B1}"/>
              </a:ext>
            </a:extLst>
          </p:cNvPr>
          <p:cNvCxnSpPr>
            <a:cxnSpLocks/>
            <a:stCxn id="172" idx="5"/>
          </p:cNvCxnSpPr>
          <p:nvPr/>
        </p:nvCxnSpPr>
        <p:spPr>
          <a:xfrm>
            <a:off x="6146202" y="740194"/>
            <a:ext cx="965798" cy="336670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7A181722-F9E9-4749-8481-B75EB1A2A6C5}"/>
              </a:ext>
            </a:extLst>
          </p:cNvPr>
          <p:cNvCxnSpPr>
            <a:cxnSpLocks/>
            <a:stCxn id="174" idx="7"/>
          </p:cNvCxnSpPr>
          <p:nvPr/>
        </p:nvCxnSpPr>
        <p:spPr>
          <a:xfrm flipV="1">
            <a:off x="6146202" y="2594610"/>
            <a:ext cx="976014" cy="63575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Gerade Verbindung mit Pfeil 208">
            <a:extLst>
              <a:ext uri="{FF2B5EF4-FFF2-40B4-BE49-F238E27FC236}">
                <a16:creationId xmlns:a16="http://schemas.microsoft.com/office/drawing/2014/main" id="{1B127A4F-79D7-48D7-A108-8124D9976E34}"/>
              </a:ext>
            </a:extLst>
          </p:cNvPr>
          <p:cNvCxnSpPr>
            <a:cxnSpLocks/>
            <a:stCxn id="175" idx="7"/>
          </p:cNvCxnSpPr>
          <p:nvPr/>
        </p:nvCxnSpPr>
        <p:spPr>
          <a:xfrm flipV="1">
            <a:off x="6146202" y="2768017"/>
            <a:ext cx="976014" cy="250284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F661639B-A7F5-4CA6-9966-8303A9920661}"/>
              </a:ext>
            </a:extLst>
          </p:cNvPr>
          <p:cNvCxnSpPr>
            <a:cxnSpLocks/>
            <a:stCxn id="172" idx="6"/>
          </p:cNvCxnSpPr>
          <p:nvPr/>
        </p:nvCxnSpPr>
        <p:spPr>
          <a:xfrm>
            <a:off x="6225283" y="549275"/>
            <a:ext cx="896933" cy="176570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1" name="Gerade Verbindung mit Pfeil 220">
            <a:extLst>
              <a:ext uri="{FF2B5EF4-FFF2-40B4-BE49-F238E27FC236}">
                <a16:creationId xmlns:a16="http://schemas.microsoft.com/office/drawing/2014/main" id="{B46CCE6E-6799-4CC8-B912-61FCAA54DD72}"/>
              </a:ext>
            </a:extLst>
          </p:cNvPr>
          <p:cNvCxnSpPr>
            <a:cxnSpLocks/>
            <a:stCxn id="173" idx="5"/>
          </p:cNvCxnSpPr>
          <p:nvPr/>
        </p:nvCxnSpPr>
        <p:spPr>
          <a:xfrm>
            <a:off x="6146202" y="2169901"/>
            <a:ext cx="950266" cy="209798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Gerade Verbindung mit Pfeil 221">
            <a:extLst>
              <a:ext uri="{FF2B5EF4-FFF2-40B4-BE49-F238E27FC236}">
                <a16:creationId xmlns:a16="http://schemas.microsoft.com/office/drawing/2014/main" id="{EFA1CFFA-73D0-457F-A927-03070F8B3238}"/>
              </a:ext>
            </a:extLst>
          </p:cNvPr>
          <p:cNvCxnSpPr>
            <a:cxnSpLocks/>
            <a:stCxn id="175" idx="6"/>
          </p:cNvCxnSpPr>
          <p:nvPr/>
        </p:nvCxnSpPr>
        <p:spPr>
          <a:xfrm flipV="1">
            <a:off x="6225283" y="4536610"/>
            <a:ext cx="896933" cy="9251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" name="Gerade Verbindung mit Pfeil 222">
            <a:extLst>
              <a:ext uri="{FF2B5EF4-FFF2-40B4-BE49-F238E27FC236}">
                <a16:creationId xmlns:a16="http://schemas.microsoft.com/office/drawing/2014/main" id="{2C15EA12-DFEC-40A4-ACE6-B93D5B8EDB80}"/>
              </a:ext>
            </a:extLst>
          </p:cNvPr>
          <p:cNvCxnSpPr>
            <a:cxnSpLocks/>
            <a:stCxn id="174" idx="6"/>
          </p:cNvCxnSpPr>
          <p:nvPr/>
        </p:nvCxnSpPr>
        <p:spPr>
          <a:xfrm>
            <a:off x="6225283" y="3421282"/>
            <a:ext cx="896933" cy="102386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E7B36DE6-C3FB-44B3-B3C9-6490272D106F}"/>
              </a:ext>
            </a:extLst>
          </p:cNvPr>
          <p:cNvCxnSpPr>
            <a:cxnSpLocks/>
            <a:stCxn id="204" idx="6"/>
            <a:endCxn id="205" idx="1"/>
          </p:cNvCxnSpPr>
          <p:nvPr/>
        </p:nvCxnSpPr>
        <p:spPr>
          <a:xfrm flipV="1">
            <a:off x="7833343" y="4336555"/>
            <a:ext cx="772135" cy="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9546AF86-36D6-4D04-B5D3-C12E02CC5BC4}"/>
              </a:ext>
            </a:extLst>
          </p:cNvPr>
          <p:cNvCxnSpPr>
            <a:cxnSpLocks/>
            <a:stCxn id="203" idx="6"/>
            <a:endCxn id="44" idx="1"/>
          </p:cNvCxnSpPr>
          <p:nvPr/>
        </p:nvCxnSpPr>
        <p:spPr>
          <a:xfrm>
            <a:off x="7833343" y="2544080"/>
            <a:ext cx="772135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Flussdiagramm: Verbinder 71">
            <a:extLst>
              <a:ext uri="{FF2B5EF4-FFF2-40B4-BE49-F238E27FC236}">
                <a16:creationId xmlns:a16="http://schemas.microsoft.com/office/drawing/2014/main" id="{56C485DF-C6B4-4C59-AA88-2A489FE7C01D}"/>
              </a:ext>
            </a:extLst>
          </p:cNvPr>
          <p:cNvSpPr/>
          <p:nvPr/>
        </p:nvSpPr>
        <p:spPr>
          <a:xfrm>
            <a:off x="5892859" y="3896615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Flussdiagramm: Verbinder 72">
            <a:extLst>
              <a:ext uri="{FF2B5EF4-FFF2-40B4-BE49-F238E27FC236}">
                <a16:creationId xmlns:a16="http://schemas.microsoft.com/office/drawing/2014/main" id="{04E29CC5-C85D-447F-B716-32ED79EA8527}"/>
              </a:ext>
            </a:extLst>
          </p:cNvPr>
          <p:cNvSpPr/>
          <p:nvPr/>
        </p:nvSpPr>
        <p:spPr>
          <a:xfrm>
            <a:off x="5892859" y="4151531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Flussdiagramm: Verbinder 73">
            <a:extLst>
              <a:ext uri="{FF2B5EF4-FFF2-40B4-BE49-F238E27FC236}">
                <a16:creationId xmlns:a16="http://schemas.microsoft.com/office/drawing/2014/main" id="{AB691445-9C44-444A-9829-EDC4DC0C6795}"/>
              </a:ext>
            </a:extLst>
          </p:cNvPr>
          <p:cNvSpPr/>
          <p:nvPr/>
        </p:nvSpPr>
        <p:spPr>
          <a:xfrm>
            <a:off x="5892859" y="441673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5" name="Flussdiagramm: Verbinder 74">
            <a:extLst>
              <a:ext uri="{FF2B5EF4-FFF2-40B4-BE49-F238E27FC236}">
                <a16:creationId xmlns:a16="http://schemas.microsoft.com/office/drawing/2014/main" id="{399D119F-3FBC-4BBC-BAB5-07E7AE960326}"/>
              </a:ext>
            </a:extLst>
          </p:cNvPr>
          <p:cNvSpPr/>
          <p:nvPr/>
        </p:nvSpPr>
        <p:spPr>
          <a:xfrm>
            <a:off x="5892859" y="4652813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Flussdiagramm: Verbinder 75">
            <a:extLst>
              <a:ext uri="{FF2B5EF4-FFF2-40B4-BE49-F238E27FC236}">
                <a16:creationId xmlns:a16="http://schemas.microsoft.com/office/drawing/2014/main" id="{30619846-C638-41B6-B912-5A642B62C82C}"/>
              </a:ext>
            </a:extLst>
          </p:cNvPr>
          <p:cNvSpPr/>
          <p:nvPr/>
        </p:nvSpPr>
        <p:spPr>
          <a:xfrm>
            <a:off x="5892859" y="492339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8954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6D81D46-1DEE-4F04-A45E-BD02B8CE10FC}"/>
              </a:ext>
            </a:extLst>
          </p:cNvPr>
          <p:cNvSpPr/>
          <p:nvPr/>
        </p:nvSpPr>
        <p:spPr>
          <a:xfrm>
            <a:off x="54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748F2A9D-3267-43CE-8EC1-BE6255746EC5}"/>
              </a:ext>
            </a:extLst>
          </p:cNvPr>
          <p:cNvCxnSpPr>
            <a:cxnSpLocks/>
          </p:cNvCxnSpPr>
          <p:nvPr/>
        </p:nvCxnSpPr>
        <p:spPr>
          <a:xfrm flipV="1">
            <a:off x="1080000" y="4860000"/>
            <a:ext cx="1080000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251D152-1DD6-480C-BB4C-3602ABF86458}"/>
              </a:ext>
            </a:extLst>
          </p:cNvPr>
          <p:cNvSpPr txBox="1"/>
          <p:nvPr/>
        </p:nvSpPr>
        <p:spPr>
          <a:xfrm>
            <a:off x="180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Conv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-Layer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2D32F95F-7E12-4DE8-8B16-D6A73BD8D86B}"/>
              </a:ext>
            </a:extLst>
          </p:cNvPr>
          <p:cNvCxnSpPr>
            <a:cxnSpLocks/>
          </p:cNvCxnSpPr>
          <p:nvPr/>
        </p:nvCxnSpPr>
        <p:spPr>
          <a:xfrm flipV="1">
            <a:off x="252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E05762C9-A1D5-4C74-AEC5-49E0F0327975}"/>
              </a:ext>
            </a:extLst>
          </p:cNvPr>
          <p:cNvSpPr txBox="1"/>
          <p:nvPr/>
        </p:nvSpPr>
        <p:spPr>
          <a:xfrm>
            <a:off x="324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Pooling-Lay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CEF9ACB-E0C0-4394-BCA4-4E70821DBFD5}"/>
              </a:ext>
            </a:extLst>
          </p:cNvPr>
          <p:cNvSpPr txBox="1"/>
          <p:nvPr/>
        </p:nvSpPr>
        <p:spPr>
          <a:xfrm>
            <a:off x="486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Flatten-Layer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53D054C-1486-473F-8CC7-79739A32296E}"/>
              </a:ext>
            </a:extLst>
          </p:cNvPr>
          <p:cNvSpPr txBox="1"/>
          <p:nvPr/>
        </p:nvSpPr>
        <p:spPr>
          <a:xfrm>
            <a:off x="648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Dense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-Layer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894DA256-B3B9-4D02-8122-529C5B7C4145}"/>
              </a:ext>
            </a:extLst>
          </p:cNvPr>
          <p:cNvSpPr txBox="1"/>
          <p:nvPr/>
        </p:nvSpPr>
        <p:spPr>
          <a:xfrm>
            <a:off x="810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Output-Layer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7900B918-D9AC-4CAB-82D2-B5375E6B72B3}"/>
              </a:ext>
            </a:extLst>
          </p:cNvPr>
          <p:cNvSpPr txBox="1"/>
          <p:nvPr/>
        </p:nvSpPr>
        <p:spPr>
          <a:xfrm>
            <a:off x="18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Input-Lay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1374B9A-5C7E-4150-8246-A3B8A386FA49}"/>
              </a:ext>
            </a:extLst>
          </p:cNvPr>
          <p:cNvSpPr/>
          <p:nvPr/>
        </p:nvSpPr>
        <p:spPr>
          <a:xfrm>
            <a:off x="216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729FDF0-D345-4653-BF03-8AA2CCE0EA1C}"/>
              </a:ext>
            </a:extLst>
          </p:cNvPr>
          <p:cNvSpPr/>
          <p:nvPr/>
        </p:nvSpPr>
        <p:spPr>
          <a:xfrm>
            <a:off x="360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D5C3398-47C2-4BB4-B6FB-A966440E6237}"/>
              </a:ext>
            </a:extLst>
          </p:cNvPr>
          <p:cNvSpPr/>
          <p:nvPr/>
        </p:nvSpPr>
        <p:spPr>
          <a:xfrm>
            <a:off x="522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FB03061-D6FA-45FD-B1DF-506E22ADE854}"/>
              </a:ext>
            </a:extLst>
          </p:cNvPr>
          <p:cNvSpPr/>
          <p:nvPr/>
        </p:nvSpPr>
        <p:spPr>
          <a:xfrm>
            <a:off x="684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DE74B53-5937-4CE8-82D6-890C20EDBEDC}"/>
              </a:ext>
            </a:extLst>
          </p:cNvPr>
          <p:cNvSpPr/>
          <p:nvPr/>
        </p:nvSpPr>
        <p:spPr>
          <a:xfrm>
            <a:off x="846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E9B0B0B-A74F-4954-9010-B33771046AD4}"/>
              </a:ext>
            </a:extLst>
          </p:cNvPr>
          <p:cNvCxnSpPr>
            <a:cxnSpLocks/>
          </p:cNvCxnSpPr>
          <p:nvPr/>
        </p:nvCxnSpPr>
        <p:spPr>
          <a:xfrm flipV="1">
            <a:off x="414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85684B3C-8D01-426B-8C8C-F271D176E72C}"/>
              </a:ext>
            </a:extLst>
          </p:cNvPr>
          <p:cNvCxnSpPr>
            <a:cxnSpLocks/>
          </p:cNvCxnSpPr>
          <p:nvPr/>
        </p:nvCxnSpPr>
        <p:spPr>
          <a:xfrm flipV="1">
            <a:off x="576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CF6AFD94-9D17-4854-8CC2-332434178E05}"/>
              </a:ext>
            </a:extLst>
          </p:cNvPr>
          <p:cNvCxnSpPr>
            <a:cxnSpLocks/>
          </p:cNvCxnSpPr>
          <p:nvPr/>
        </p:nvCxnSpPr>
        <p:spPr>
          <a:xfrm flipV="1">
            <a:off x="738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AE4B5E76-C522-4C74-9C21-03D7EE0C5A77}"/>
              </a:ext>
            </a:extLst>
          </p:cNvPr>
          <p:cNvSpPr/>
          <p:nvPr/>
        </p:nvSpPr>
        <p:spPr>
          <a:xfrm>
            <a:off x="540000" y="3302492"/>
            <a:ext cx="8460000" cy="232956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E8885604-B15F-460C-BFD1-43B51FCFECC7}"/>
              </a:ext>
            </a:extLst>
          </p:cNvPr>
          <p:cNvSpPr txBox="1"/>
          <p:nvPr/>
        </p:nvSpPr>
        <p:spPr>
          <a:xfrm>
            <a:off x="540000" y="2922437"/>
            <a:ext cx="846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Merkmale ergeben von Schicht zu Schicht komplexere Ergebnisse</a:t>
            </a:r>
          </a:p>
        </p:txBody>
      </p:sp>
    </p:spTree>
    <p:extLst>
      <p:ext uri="{BB962C8B-B14F-4D97-AF65-F5344CB8AC3E}">
        <p14:creationId xmlns:p14="http://schemas.microsoft.com/office/powerpoint/2010/main" val="2687175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FBA836-E0A1-43C0-A4D0-C2B75AC93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97024" y="5806712"/>
            <a:ext cx="2310659" cy="296569"/>
          </a:xfrm>
        </p:spPr>
        <p:txBody>
          <a:bodyPr anchor="ctr">
            <a:normAutofit/>
          </a:bodyPr>
          <a:lstStyle/>
          <a:p>
            <a:pPr defTabSz="742676">
              <a:spcAft>
                <a:spcPts val="487"/>
              </a:spcAft>
              <a:defRPr/>
            </a:pPr>
            <a:fld id="{A1B29D50-9C7A-4003-A615-B35DB4D87802}" type="slidenum">
              <a:rPr lang="de-DE">
                <a:solidFill>
                  <a:prstClr val="black">
                    <a:tint val="75000"/>
                  </a:prstClr>
                </a:solidFill>
              </a:rPr>
              <a:pPr defTabSz="742676">
                <a:spcAft>
                  <a:spcPts val="487"/>
                </a:spcAft>
                <a:defRPr/>
              </a:pPr>
              <a:t>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6CA84E6-3159-4B2A-8D14-071A4DC1A799}"/>
              </a:ext>
            </a:extLst>
          </p:cNvPr>
          <p:cNvSpPr txBox="1"/>
          <p:nvPr/>
        </p:nvSpPr>
        <p:spPr>
          <a:xfrm>
            <a:off x="681806" y="1791343"/>
            <a:ext cx="146219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Zustand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19A3F45-1D1D-4518-BBF9-80C2DC6B7365}"/>
              </a:ext>
            </a:extLst>
          </p:cNvPr>
          <p:cNvSpPr txBox="1"/>
          <p:nvPr/>
        </p:nvSpPr>
        <p:spPr>
          <a:xfrm>
            <a:off x="681806" y="2644309"/>
            <a:ext cx="146219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Aktio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8ED6EF4-548F-4C3D-98EB-3ABE535739A6}"/>
              </a:ext>
            </a:extLst>
          </p:cNvPr>
          <p:cNvSpPr txBox="1"/>
          <p:nvPr/>
        </p:nvSpPr>
        <p:spPr>
          <a:xfrm>
            <a:off x="389367" y="3976202"/>
            <a:ext cx="2924063" cy="13923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Zustand</a:t>
            </a:r>
          </a:p>
          <a:p>
            <a:pPr marL="232086" indent="-232086" defTabSz="74267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462" dirty="0">
                <a:solidFill>
                  <a:prstClr val="black"/>
                </a:solidFill>
                <a:latin typeface="Bliss 2 Regular"/>
              </a:rPr>
              <a:t>x-Koordinate Pixel</a:t>
            </a:r>
          </a:p>
          <a:p>
            <a:pPr marL="232086" indent="-232086" defTabSz="74267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462" dirty="0">
                <a:solidFill>
                  <a:prstClr val="black"/>
                </a:solidFill>
                <a:latin typeface="Bliss 2 Regular"/>
              </a:rPr>
              <a:t>y-Koordinate Pixel</a:t>
            </a:r>
          </a:p>
          <a:p>
            <a:pPr marL="232086" indent="-232086" defTabSz="74267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462" dirty="0">
                <a:solidFill>
                  <a:prstClr val="black"/>
                </a:solidFill>
                <a:latin typeface="Bliss 2 Regular"/>
              </a:rPr>
              <a:t>Farbzusammensetzung (RGB)</a:t>
            </a:r>
          </a:p>
          <a:p>
            <a:pPr marL="232086" indent="-232086" defTabSz="74267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sz="1462" dirty="0">
              <a:solidFill>
                <a:prstClr val="black"/>
              </a:solidFill>
              <a:latin typeface="Bliss 2 Regular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3C24A8B-388F-4849-85B6-447C8D85D675}"/>
              </a:ext>
            </a:extLst>
          </p:cNvPr>
          <p:cNvSpPr txBox="1"/>
          <p:nvPr/>
        </p:nvSpPr>
        <p:spPr>
          <a:xfrm>
            <a:off x="3840145" y="2159227"/>
            <a:ext cx="222253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Table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ACF86CC0-57A4-47E0-ABB4-A9C9B7E97693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2144000" y="2037500"/>
            <a:ext cx="1696145" cy="272314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0ED98EB-25A1-4937-A028-41EECDE52723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2144000" y="2503810"/>
            <a:ext cx="1696145" cy="38665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53788C36-2AC6-4BA6-A38B-BC8B4A22E6ED}"/>
              </a:ext>
            </a:extLst>
          </p:cNvPr>
          <p:cNvSpPr txBox="1"/>
          <p:nvPr/>
        </p:nvSpPr>
        <p:spPr>
          <a:xfrm>
            <a:off x="3840145" y="4261069"/>
            <a:ext cx="2222534" cy="89229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Deep Q </a:t>
            </a:r>
            <a:r>
              <a:rPr lang="de-DE" sz="2599" b="1" dirty="0" err="1">
                <a:solidFill>
                  <a:prstClr val="black"/>
                </a:solidFill>
                <a:latin typeface="Bliss 2 Regular"/>
              </a:rPr>
              <a:t>Neural</a:t>
            </a: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 Network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527B42A6-1425-4683-8AB6-56851BB78A06}"/>
              </a:ext>
            </a:extLst>
          </p:cNvPr>
          <p:cNvCxnSpPr>
            <a:cxnSpLocks/>
            <a:stCxn id="12" idx="3"/>
            <a:endCxn id="23" idx="1"/>
          </p:cNvCxnSpPr>
          <p:nvPr/>
        </p:nvCxnSpPr>
        <p:spPr>
          <a:xfrm>
            <a:off x="3313430" y="4672354"/>
            <a:ext cx="526715" cy="3486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02C98063-E958-4D5F-99B4-9F3E73C7DC80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6062679" y="2405383"/>
            <a:ext cx="1228243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5CC830CA-0FB3-4A8C-80EC-66B28A237AFF}"/>
              </a:ext>
            </a:extLst>
          </p:cNvPr>
          <p:cNvCxnSpPr>
            <a:cxnSpLocks/>
            <a:stCxn id="23" idx="3"/>
            <a:endCxn id="35" idx="1"/>
          </p:cNvCxnSpPr>
          <p:nvPr/>
        </p:nvCxnSpPr>
        <p:spPr>
          <a:xfrm flipV="1">
            <a:off x="6062679" y="3682484"/>
            <a:ext cx="1238486" cy="102473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765036C-6CD7-4A72-A90E-873D658CDECF}"/>
              </a:ext>
            </a:extLst>
          </p:cNvPr>
          <p:cNvCxnSpPr>
            <a:cxnSpLocks/>
            <a:stCxn id="23" idx="3"/>
            <a:endCxn id="36" idx="1"/>
          </p:cNvCxnSpPr>
          <p:nvPr/>
        </p:nvCxnSpPr>
        <p:spPr>
          <a:xfrm flipV="1">
            <a:off x="6062679" y="4317929"/>
            <a:ext cx="1235959" cy="38928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91F300F-9642-47A7-BC33-FD000A3999D1}"/>
              </a:ext>
            </a:extLst>
          </p:cNvPr>
          <p:cNvSpPr txBox="1"/>
          <p:nvPr/>
        </p:nvSpPr>
        <p:spPr>
          <a:xfrm>
            <a:off x="7295425" y="2204087"/>
            <a:ext cx="146219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3DC67E9C-A993-4959-8291-B02F7402AE6E}"/>
              </a:ext>
            </a:extLst>
          </p:cNvPr>
          <p:cNvSpPr txBox="1"/>
          <p:nvPr/>
        </p:nvSpPr>
        <p:spPr>
          <a:xfrm>
            <a:off x="7301165" y="3436327"/>
            <a:ext cx="2448082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 Aktion 1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B74B910-5C89-4428-84CE-A6C8FB5DC6D5}"/>
              </a:ext>
            </a:extLst>
          </p:cNvPr>
          <p:cNvSpPr txBox="1"/>
          <p:nvPr/>
        </p:nvSpPr>
        <p:spPr>
          <a:xfrm>
            <a:off x="7298638" y="4071772"/>
            <a:ext cx="2448082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 Aktion 2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243BC9D6-A290-4728-95E4-E702190941E5}"/>
              </a:ext>
            </a:extLst>
          </p:cNvPr>
          <p:cNvSpPr txBox="1"/>
          <p:nvPr/>
        </p:nvSpPr>
        <p:spPr>
          <a:xfrm>
            <a:off x="7298638" y="5100880"/>
            <a:ext cx="2440366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 Aktion n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E3DED091-7F18-40C3-B755-FA35B23B42FE}"/>
              </a:ext>
            </a:extLst>
          </p:cNvPr>
          <p:cNvCxnSpPr>
            <a:cxnSpLocks/>
            <a:stCxn id="23" idx="3"/>
            <a:endCxn id="37" idx="1"/>
          </p:cNvCxnSpPr>
          <p:nvPr/>
        </p:nvCxnSpPr>
        <p:spPr>
          <a:xfrm>
            <a:off x="6062679" y="4707217"/>
            <a:ext cx="1235959" cy="63982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Ellipse 46">
            <a:extLst>
              <a:ext uri="{FF2B5EF4-FFF2-40B4-BE49-F238E27FC236}">
                <a16:creationId xmlns:a16="http://schemas.microsoft.com/office/drawing/2014/main" id="{C24E9EFD-53AF-4C43-BE30-442330919137}"/>
              </a:ext>
            </a:extLst>
          </p:cNvPr>
          <p:cNvSpPr/>
          <p:nvPr/>
        </p:nvSpPr>
        <p:spPr>
          <a:xfrm>
            <a:off x="8431099" y="4648736"/>
            <a:ext cx="58481" cy="5848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endParaRPr lang="de-DE" sz="1462">
              <a:solidFill>
                <a:prstClr val="white"/>
              </a:solidFill>
              <a:latin typeface="Bliss 2 Regular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878FAA9F-7909-4BAB-8185-CA5BF24B52F3}"/>
              </a:ext>
            </a:extLst>
          </p:cNvPr>
          <p:cNvSpPr/>
          <p:nvPr/>
        </p:nvSpPr>
        <p:spPr>
          <a:xfrm>
            <a:off x="8431099" y="4794828"/>
            <a:ext cx="58481" cy="5848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endParaRPr lang="de-DE" sz="1462">
              <a:solidFill>
                <a:prstClr val="white"/>
              </a:solidFill>
              <a:latin typeface="Bliss 2 Regular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3201259B-8D63-4F05-AD26-1F7D4912EF4A}"/>
              </a:ext>
            </a:extLst>
          </p:cNvPr>
          <p:cNvSpPr/>
          <p:nvPr/>
        </p:nvSpPr>
        <p:spPr>
          <a:xfrm>
            <a:off x="8431099" y="4943388"/>
            <a:ext cx="58481" cy="5848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endParaRPr lang="de-DE" sz="1462">
              <a:solidFill>
                <a:prstClr val="white"/>
              </a:solidFill>
              <a:latin typeface="Bliss 2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4066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Rechteck 179">
            <a:extLst>
              <a:ext uri="{FF2B5EF4-FFF2-40B4-BE49-F238E27FC236}">
                <a16:creationId xmlns:a16="http://schemas.microsoft.com/office/drawing/2014/main" id="{AC493623-2DD8-488E-951C-773DA02D7FDA}"/>
              </a:ext>
            </a:extLst>
          </p:cNvPr>
          <p:cNvSpPr/>
          <p:nvPr/>
        </p:nvSpPr>
        <p:spPr>
          <a:xfrm>
            <a:off x="6604104" y="2392083"/>
            <a:ext cx="2347507" cy="21414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2262327-CBF4-43EF-8C8C-88BEB2F6FB01}"/>
              </a:ext>
            </a:extLst>
          </p:cNvPr>
          <p:cNvSpPr/>
          <p:nvPr/>
        </p:nvSpPr>
        <p:spPr>
          <a:xfrm>
            <a:off x="1538673" y="2392083"/>
            <a:ext cx="2347507" cy="21414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AE6AFD60-D2CE-4B8E-9EAD-5BD66D5F87B0}"/>
                  </a:ext>
                </a:extLst>
              </p:cNvPr>
              <p:cNvSpPr txBox="1"/>
              <p:nvPr/>
            </p:nvSpPr>
            <p:spPr>
              <a:xfrm>
                <a:off x="941033" y="843379"/>
                <a:ext cx="8558048" cy="4079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𝑸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𝜶</m:t>
                          </m:r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𝑸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𝜶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𝒕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𝜸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func>
                        <m:funcPr>
                          <m:ctrlP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a:rPr lang="de-DE" sz="2000" b="1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𝐦𝐚𝐱</m:t>
                              </m:r>
                            </m:e>
                            <m:lim/>
                          </m:limLow>
                        </m:fName>
                        <m:e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𝑸</m:t>
                          </m:r>
                          <m:d>
                            <m:d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𝒕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𝟏</m:t>
                                  </m:r>
                                </m:sub>
                              </m:s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𝒂</m:t>
                                  </m:r>
                                </m:e>
                                <m:sub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𝒕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𝟏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𝑸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𝒔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de-DE" sz="2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AE6AFD60-D2CE-4B8E-9EAD-5BD66D5F87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1033" y="843379"/>
                <a:ext cx="8558048" cy="407932"/>
              </a:xfrm>
              <a:prstGeom prst="rect">
                <a:avLst/>
              </a:prstGeom>
              <a:blipFill>
                <a:blip r:embed="rId2"/>
                <a:stretch>
                  <a:fillRect l="-427" r="-570" b="-29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Geschweifte Klammer links 2">
            <a:extLst>
              <a:ext uri="{FF2B5EF4-FFF2-40B4-BE49-F238E27FC236}">
                <a16:creationId xmlns:a16="http://schemas.microsoft.com/office/drawing/2014/main" id="{482785EC-E370-4B89-87F8-7161B6A9E2F8}"/>
              </a:ext>
            </a:extLst>
          </p:cNvPr>
          <p:cNvSpPr/>
          <p:nvPr/>
        </p:nvSpPr>
        <p:spPr>
          <a:xfrm rot="16200000">
            <a:off x="6656535" y="241859"/>
            <a:ext cx="360000" cy="2340000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Geschweifte Klammer links 3">
            <a:extLst>
              <a:ext uri="{FF2B5EF4-FFF2-40B4-BE49-F238E27FC236}">
                <a16:creationId xmlns:a16="http://schemas.microsoft.com/office/drawing/2014/main" id="{F92BA2E2-D3F0-4A16-BA0B-C50B810D81DA}"/>
              </a:ext>
            </a:extLst>
          </p:cNvPr>
          <p:cNvSpPr/>
          <p:nvPr/>
        </p:nvSpPr>
        <p:spPr>
          <a:xfrm rot="16200000">
            <a:off x="8671603" y="968485"/>
            <a:ext cx="360000" cy="904837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10599B9-CD80-4A4A-B30A-67D67F586D1B}"/>
              </a:ext>
            </a:extLst>
          </p:cNvPr>
          <p:cNvCxnSpPr>
            <a:cxnSpLocks/>
          </p:cNvCxnSpPr>
          <p:nvPr/>
        </p:nvCxnSpPr>
        <p:spPr>
          <a:xfrm flipV="1">
            <a:off x="6840000" y="1619999"/>
            <a:ext cx="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8F4FB88-64DF-4042-AC5A-363F43B9BD3D}"/>
              </a:ext>
            </a:extLst>
          </p:cNvPr>
          <p:cNvCxnSpPr>
            <a:cxnSpLocks/>
          </p:cNvCxnSpPr>
          <p:nvPr/>
        </p:nvCxnSpPr>
        <p:spPr>
          <a:xfrm flipV="1">
            <a:off x="2700000" y="1980000"/>
            <a:ext cx="41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C3F4346-C19F-41FD-9336-AAD433AA6403}"/>
              </a:ext>
            </a:extLst>
          </p:cNvPr>
          <p:cNvCxnSpPr>
            <a:cxnSpLocks/>
          </p:cNvCxnSpPr>
          <p:nvPr/>
        </p:nvCxnSpPr>
        <p:spPr>
          <a:xfrm>
            <a:off x="2700000" y="1980000"/>
            <a:ext cx="6855" cy="5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Ellipse 42">
            <a:extLst>
              <a:ext uri="{FF2B5EF4-FFF2-40B4-BE49-F238E27FC236}">
                <a16:creationId xmlns:a16="http://schemas.microsoft.com/office/drawing/2014/main" id="{33E080B5-952F-4FC0-B8FF-1D7FBA686C62}"/>
              </a:ext>
            </a:extLst>
          </p:cNvPr>
          <p:cNvSpPr/>
          <p:nvPr/>
        </p:nvSpPr>
        <p:spPr>
          <a:xfrm>
            <a:off x="2610000" y="252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95AF4D18-CBC9-4012-ACA5-7565AD0D51FF}"/>
              </a:ext>
            </a:extLst>
          </p:cNvPr>
          <p:cNvSpPr/>
          <p:nvPr/>
        </p:nvSpPr>
        <p:spPr>
          <a:xfrm>
            <a:off x="234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3DC69F1A-C5CE-4F50-BDEE-500F626A2905}"/>
              </a:ext>
            </a:extLst>
          </p:cNvPr>
          <p:cNvSpPr/>
          <p:nvPr/>
        </p:nvSpPr>
        <p:spPr>
          <a:xfrm>
            <a:off x="288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F6227BE3-5D37-42B6-B765-06A1629F439A}"/>
              </a:ext>
            </a:extLst>
          </p:cNvPr>
          <p:cNvSpPr/>
          <p:nvPr/>
        </p:nvSpPr>
        <p:spPr>
          <a:xfrm>
            <a:off x="342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0FF5479-B3AB-4C1C-A4C3-351E4FE4C5F5}"/>
              </a:ext>
            </a:extLst>
          </p:cNvPr>
          <p:cNvSpPr/>
          <p:nvPr/>
        </p:nvSpPr>
        <p:spPr>
          <a:xfrm>
            <a:off x="180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8974A0E9-C673-47FF-AA06-B178A0684951}"/>
              </a:ext>
            </a:extLst>
          </p:cNvPr>
          <p:cNvSpPr/>
          <p:nvPr/>
        </p:nvSpPr>
        <p:spPr>
          <a:xfrm>
            <a:off x="2070000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54ED91DF-ED60-40F8-87C7-D4FC193CFFC4}"/>
              </a:ext>
            </a:extLst>
          </p:cNvPr>
          <p:cNvSpPr/>
          <p:nvPr/>
        </p:nvSpPr>
        <p:spPr>
          <a:xfrm>
            <a:off x="2610000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A8A7026B-A32E-4EC3-A189-F55993DC0033}"/>
              </a:ext>
            </a:extLst>
          </p:cNvPr>
          <p:cNvSpPr/>
          <p:nvPr/>
        </p:nvSpPr>
        <p:spPr>
          <a:xfrm>
            <a:off x="3150000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66356E3D-309F-4656-854C-58A917B9DF15}"/>
              </a:ext>
            </a:extLst>
          </p:cNvPr>
          <p:cNvSpPr/>
          <p:nvPr/>
        </p:nvSpPr>
        <p:spPr>
          <a:xfrm>
            <a:off x="2340000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E8102088-D13A-4CA0-AE19-68C7452B8D37}"/>
              </a:ext>
            </a:extLst>
          </p:cNvPr>
          <p:cNvSpPr/>
          <p:nvPr/>
        </p:nvSpPr>
        <p:spPr>
          <a:xfrm>
            <a:off x="2880000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1EE46FFE-5D89-434E-8E3D-58E0FD7C17AD}"/>
              </a:ext>
            </a:extLst>
          </p:cNvPr>
          <p:cNvCxnSpPr>
            <a:cxnSpLocks/>
          </p:cNvCxnSpPr>
          <p:nvPr/>
        </p:nvCxnSpPr>
        <p:spPr>
          <a:xfrm flipV="1">
            <a:off x="2430000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427E213-6A67-406F-9E13-335B01962182}"/>
              </a:ext>
            </a:extLst>
          </p:cNvPr>
          <p:cNvCxnSpPr>
            <a:cxnSpLocks/>
          </p:cNvCxnSpPr>
          <p:nvPr/>
        </p:nvCxnSpPr>
        <p:spPr>
          <a:xfrm flipV="1">
            <a:off x="2970000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837EB442-9633-4484-98AA-105345F7AD06}"/>
              </a:ext>
            </a:extLst>
          </p:cNvPr>
          <p:cNvSpPr txBox="1"/>
          <p:nvPr/>
        </p:nvSpPr>
        <p:spPr>
          <a:xfrm>
            <a:off x="1799999" y="5739918"/>
            <a:ext cx="6817519" cy="400110"/>
          </a:xfrm>
          <a:prstGeom prst="rect">
            <a:avLst/>
          </a:prstGeom>
          <a:noFill/>
          <a:ln>
            <a:solidFill>
              <a:schemeClr val="dk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nput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620F8449-D15F-4867-9D16-C63E06EA5BAB}"/>
              </a:ext>
            </a:extLst>
          </p:cNvPr>
          <p:cNvCxnSpPr>
            <a:cxnSpLocks/>
          </p:cNvCxnSpPr>
          <p:nvPr/>
        </p:nvCxnSpPr>
        <p:spPr>
          <a:xfrm>
            <a:off x="2430000" y="5040000"/>
            <a:ext cx="56991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34AAB0C7-3634-4CCC-B50E-51A482355C0F}"/>
              </a:ext>
            </a:extLst>
          </p:cNvPr>
          <p:cNvCxnSpPr>
            <a:cxnSpLocks/>
          </p:cNvCxnSpPr>
          <p:nvPr/>
        </p:nvCxnSpPr>
        <p:spPr>
          <a:xfrm>
            <a:off x="5257800" y="5040000"/>
            <a:ext cx="0" cy="69991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41D2B974-68F8-4DFF-AF14-0F91BF74D759}"/>
              </a:ext>
            </a:extLst>
          </p:cNvPr>
          <p:cNvCxnSpPr>
            <a:cxnSpLocks/>
            <a:stCxn id="43" idx="3"/>
            <a:endCxn id="44" idx="0"/>
          </p:cNvCxnSpPr>
          <p:nvPr/>
        </p:nvCxnSpPr>
        <p:spPr>
          <a:xfrm flipH="1">
            <a:off x="2430000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FC4B6621-5C19-49BB-9C76-E568E60583ED}"/>
              </a:ext>
            </a:extLst>
          </p:cNvPr>
          <p:cNvCxnSpPr>
            <a:cxnSpLocks/>
            <a:stCxn id="43" idx="2"/>
            <a:endCxn id="47" idx="7"/>
          </p:cNvCxnSpPr>
          <p:nvPr/>
        </p:nvCxnSpPr>
        <p:spPr>
          <a:xfrm flipH="1">
            <a:off x="1953640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8C69E5C9-4AAA-43ED-B010-B34A4A6E08FA}"/>
              </a:ext>
            </a:extLst>
          </p:cNvPr>
          <p:cNvCxnSpPr>
            <a:cxnSpLocks/>
            <a:stCxn id="43" idx="5"/>
            <a:endCxn id="45" idx="0"/>
          </p:cNvCxnSpPr>
          <p:nvPr/>
        </p:nvCxnSpPr>
        <p:spPr>
          <a:xfrm>
            <a:off x="2763640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10A59443-9CDA-46B3-B647-496FDA717877}"/>
              </a:ext>
            </a:extLst>
          </p:cNvPr>
          <p:cNvCxnSpPr>
            <a:cxnSpLocks/>
            <a:stCxn id="47" idx="4"/>
            <a:endCxn id="48" idx="0"/>
          </p:cNvCxnSpPr>
          <p:nvPr/>
        </p:nvCxnSpPr>
        <p:spPr>
          <a:xfrm>
            <a:off x="189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008A258C-4BF2-4872-86FC-53A3E35B1529}"/>
              </a:ext>
            </a:extLst>
          </p:cNvPr>
          <p:cNvCxnSpPr>
            <a:cxnSpLocks/>
            <a:stCxn id="43" idx="6"/>
            <a:endCxn id="46" idx="1"/>
          </p:cNvCxnSpPr>
          <p:nvPr/>
        </p:nvCxnSpPr>
        <p:spPr>
          <a:xfrm>
            <a:off x="2790000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66C8AD4D-C2F7-433B-BA0B-A4ABEA6C2ED8}"/>
              </a:ext>
            </a:extLst>
          </p:cNvPr>
          <p:cNvCxnSpPr>
            <a:cxnSpLocks/>
            <a:stCxn id="44" idx="4"/>
            <a:endCxn id="48" idx="0"/>
          </p:cNvCxnSpPr>
          <p:nvPr/>
        </p:nvCxnSpPr>
        <p:spPr>
          <a:xfrm flipH="1">
            <a:off x="216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9FA59A79-9DD0-451C-AF30-74A2E9C94A27}"/>
              </a:ext>
            </a:extLst>
          </p:cNvPr>
          <p:cNvCxnSpPr>
            <a:cxnSpLocks/>
            <a:stCxn id="45" idx="4"/>
            <a:endCxn id="48" idx="0"/>
          </p:cNvCxnSpPr>
          <p:nvPr/>
        </p:nvCxnSpPr>
        <p:spPr>
          <a:xfrm flipH="1">
            <a:off x="216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9FC96F2D-550D-4937-964A-ACC0B97C267F}"/>
              </a:ext>
            </a:extLst>
          </p:cNvPr>
          <p:cNvCxnSpPr>
            <a:cxnSpLocks/>
            <a:stCxn id="46" idx="4"/>
            <a:endCxn id="48" idx="0"/>
          </p:cNvCxnSpPr>
          <p:nvPr/>
        </p:nvCxnSpPr>
        <p:spPr>
          <a:xfrm flipH="1">
            <a:off x="2160000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B05654A0-9C43-499E-8B2D-09A21E2C7853}"/>
              </a:ext>
            </a:extLst>
          </p:cNvPr>
          <p:cNvCxnSpPr>
            <a:cxnSpLocks/>
            <a:stCxn id="47" idx="4"/>
            <a:endCxn id="49" idx="0"/>
          </p:cNvCxnSpPr>
          <p:nvPr/>
        </p:nvCxnSpPr>
        <p:spPr>
          <a:xfrm>
            <a:off x="189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0725B73D-13BF-44BE-A444-824EBF011CA2}"/>
              </a:ext>
            </a:extLst>
          </p:cNvPr>
          <p:cNvCxnSpPr>
            <a:cxnSpLocks/>
            <a:stCxn id="44" idx="4"/>
            <a:endCxn id="49" idx="0"/>
          </p:cNvCxnSpPr>
          <p:nvPr/>
        </p:nvCxnSpPr>
        <p:spPr>
          <a:xfrm>
            <a:off x="243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0D4E2BF-8BD4-4EC7-93C1-3309538416F4}"/>
              </a:ext>
            </a:extLst>
          </p:cNvPr>
          <p:cNvCxnSpPr>
            <a:cxnSpLocks/>
            <a:stCxn id="45" idx="4"/>
            <a:endCxn id="49" idx="0"/>
          </p:cNvCxnSpPr>
          <p:nvPr/>
        </p:nvCxnSpPr>
        <p:spPr>
          <a:xfrm flipH="1">
            <a:off x="270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EEC2B499-3E75-4CBB-8E6C-2A577A878BB2}"/>
              </a:ext>
            </a:extLst>
          </p:cNvPr>
          <p:cNvCxnSpPr>
            <a:cxnSpLocks/>
            <a:stCxn id="46" idx="4"/>
            <a:endCxn id="49" idx="0"/>
          </p:cNvCxnSpPr>
          <p:nvPr/>
        </p:nvCxnSpPr>
        <p:spPr>
          <a:xfrm flipH="1">
            <a:off x="270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EF7035F6-FFDB-4B36-BF8C-11A059294091}"/>
              </a:ext>
            </a:extLst>
          </p:cNvPr>
          <p:cNvCxnSpPr>
            <a:cxnSpLocks/>
            <a:stCxn id="47" idx="4"/>
            <a:endCxn id="56" idx="0"/>
          </p:cNvCxnSpPr>
          <p:nvPr/>
        </p:nvCxnSpPr>
        <p:spPr>
          <a:xfrm>
            <a:off x="1890000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974189C-9D1F-40CB-8764-1503D33A2E19}"/>
              </a:ext>
            </a:extLst>
          </p:cNvPr>
          <p:cNvCxnSpPr>
            <a:cxnSpLocks/>
            <a:stCxn id="44" idx="4"/>
            <a:endCxn id="56" idx="0"/>
          </p:cNvCxnSpPr>
          <p:nvPr/>
        </p:nvCxnSpPr>
        <p:spPr>
          <a:xfrm>
            <a:off x="243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2A07F5D1-E0AD-446A-9149-F1E3BF43B19A}"/>
              </a:ext>
            </a:extLst>
          </p:cNvPr>
          <p:cNvCxnSpPr>
            <a:cxnSpLocks/>
            <a:stCxn id="45" idx="4"/>
            <a:endCxn id="56" idx="0"/>
          </p:cNvCxnSpPr>
          <p:nvPr/>
        </p:nvCxnSpPr>
        <p:spPr>
          <a:xfrm>
            <a:off x="297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8DF0EB4D-C07A-473A-9972-D19B6995B3A2}"/>
              </a:ext>
            </a:extLst>
          </p:cNvPr>
          <p:cNvCxnSpPr>
            <a:cxnSpLocks/>
            <a:stCxn id="46" idx="4"/>
            <a:endCxn id="56" idx="0"/>
          </p:cNvCxnSpPr>
          <p:nvPr/>
        </p:nvCxnSpPr>
        <p:spPr>
          <a:xfrm flipH="1">
            <a:off x="324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3A338241-BF77-4F8B-821C-6FEE0ABCE949}"/>
              </a:ext>
            </a:extLst>
          </p:cNvPr>
          <p:cNvCxnSpPr>
            <a:cxnSpLocks/>
            <a:stCxn id="48" idx="4"/>
            <a:endCxn id="57" idx="0"/>
          </p:cNvCxnSpPr>
          <p:nvPr/>
        </p:nvCxnSpPr>
        <p:spPr>
          <a:xfrm>
            <a:off x="216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42D0444A-E8AD-409E-8AA0-CDEFDBBFC3AB}"/>
              </a:ext>
            </a:extLst>
          </p:cNvPr>
          <p:cNvCxnSpPr>
            <a:cxnSpLocks/>
            <a:stCxn id="48" idx="4"/>
            <a:endCxn id="58" idx="0"/>
          </p:cNvCxnSpPr>
          <p:nvPr/>
        </p:nvCxnSpPr>
        <p:spPr>
          <a:xfrm>
            <a:off x="2160000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4135F6FC-8FBF-4BBA-A5C3-58E2E73782BD}"/>
              </a:ext>
            </a:extLst>
          </p:cNvPr>
          <p:cNvCxnSpPr>
            <a:cxnSpLocks/>
            <a:stCxn id="49" idx="4"/>
            <a:endCxn id="57" idx="0"/>
          </p:cNvCxnSpPr>
          <p:nvPr/>
        </p:nvCxnSpPr>
        <p:spPr>
          <a:xfrm flipH="1">
            <a:off x="243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19459A77-9DE6-45A1-B1A8-70408B437F74}"/>
              </a:ext>
            </a:extLst>
          </p:cNvPr>
          <p:cNvCxnSpPr>
            <a:cxnSpLocks/>
            <a:stCxn id="56" idx="4"/>
            <a:endCxn id="57" idx="0"/>
          </p:cNvCxnSpPr>
          <p:nvPr/>
        </p:nvCxnSpPr>
        <p:spPr>
          <a:xfrm flipH="1">
            <a:off x="2430000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Gerader Verbinder 132">
            <a:extLst>
              <a:ext uri="{FF2B5EF4-FFF2-40B4-BE49-F238E27FC236}">
                <a16:creationId xmlns:a16="http://schemas.microsoft.com/office/drawing/2014/main" id="{355AAD85-7EC2-45CF-A308-45A72F5E8216}"/>
              </a:ext>
            </a:extLst>
          </p:cNvPr>
          <p:cNvCxnSpPr>
            <a:cxnSpLocks/>
            <a:stCxn id="49" idx="4"/>
            <a:endCxn id="58" idx="0"/>
          </p:cNvCxnSpPr>
          <p:nvPr/>
        </p:nvCxnSpPr>
        <p:spPr>
          <a:xfrm>
            <a:off x="270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Gerader Verbinder 143">
            <a:extLst>
              <a:ext uri="{FF2B5EF4-FFF2-40B4-BE49-F238E27FC236}">
                <a16:creationId xmlns:a16="http://schemas.microsoft.com/office/drawing/2014/main" id="{FA5F4FF4-838E-4099-BEF9-B4597F2DD287}"/>
              </a:ext>
            </a:extLst>
          </p:cNvPr>
          <p:cNvCxnSpPr>
            <a:cxnSpLocks/>
            <a:stCxn id="56" idx="4"/>
            <a:endCxn id="58" idx="0"/>
          </p:cNvCxnSpPr>
          <p:nvPr/>
        </p:nvCxnSpPr>
        <p:spPr>
          <a:xfrm flipH="1">
            <a:off x="297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7" name="Ellipse 146">
            <a:extLst>
              <a:ext uri="{FF2B5EF4-FFF2-40B4-BE49-F238E27FC236}">
                <a16:creationId xmlns:a16="http://schemas.microsoft.com/office/drawing/2014/main" id="{C293D213-3B6B-473C-B09E-AAD64CCC492B}"/>
              </a:ext>
            </a:extLst>
          </p:cNvPr>
          <p:cNvSpPr/>
          <p:nvPr/>
        </p:nvSpPr>
        <p:spPr>
          <a:xfrm>
            <a:off x="7769185" y="252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8" name="Ellipse 147">
            <a:extLst>
              <a:ext uri="{FF2B5EF4-FFF2-40B4-BE49-F238E27FC236}">
                <a16:creationId xmlns:a16="http://schemas.microsoft.com/office/drawing/2014/main" id="{48C77D62-F23E-464E-B852-F3FEFFC3E37A}"/>
              </a:ext>
            </a:extLst>
          </p:cNvPr>
          <p:cNvSpPr/>
          <p:nvPr/>
        </p:nvSpPr>
        <p:spPr>
          <a:xfrm>
            <a:off x="749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9" name="Ellipse 148">
            <a:extLst>
              <a:ext uri="{FF2B5EF4-FFF2-40B4-BE49-F238E27FC236}">
                <a16:creationId xmlns:a16="http://schemas.microsoft.com/office/drawing/2014/main" id="{8D3796E8-BC7E-4B1B-B69D-99F7DDE52404}"/>
              </a:ext>
            </a:extLst>
          </p:cNvPr>
          <p:cNvSpPr/>
          <p:nvPr/>
        </p:nvSpPr>
        <p:spPr>
          <a:xfrm>
            <a:off x="803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C270F6AF-33EC-49D9-9D43-7992A1D1B42C}"/>
              </a:ext>
            </a:extLst>
          </p:cNvPr>
          <p:cNvSpPr/>
          <p:nvPr/>
        </p:nvSpPr>
        <p:spPr>
          <a:xfrm>
            <a:off x="857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1" name="Ellipse 150">
            <a:extLst>
              <a:ext uri="{FF2B5EF4-FFF2-40B4-BE49-F238E27FC236}">
                <a16:creationId xmlns:a16="http://schemas.microsoft.com/office/drawing/2014/main" id="{8FE3CD5F-EB9D-4467-B0F3-44A721CAE20E}"/>
              </a:ext>
            </a:extLst>
          </p:cNvPr>
          <p:cNvSpPr/>
          <p:nvPr/>
        </p:nvSpPr>
        <p:spPr>
          <a:xfrm>
            <a:off x="695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2" name="Ellipse 151">
            <a:extLst>
              <a:ext uri="{FF2B5EF4-FFF2-40B4-BE49-F238E27FC236}">
                <a16:creationId xmlns:a16="http://schemas.microsoft.com/office/drawing/2014/main" id="{AB7C2181-623F-4C15-8861-EE049BDF1385}"/>
              </a:ext>
            </a:extLst>
          </p:cNvPr>
          <p:cNvSpPr/>
          <p:nvPr/>
        </p:nvSpPr>
        <p:spPr>
          <a:xfrm>
            <a:off x="7229185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3" name="Ellipse 152">
            <a:extLst>
              <a:ext uri="{FF2B5EF4-FFF2-40B4-BE49-F238E27FC236}">
                <a16:creationId xmlns:a16="http://schemas.microsoft.com/office/drawing/2014/main" id="{FABCB3CF-86F2-4D9E-A377-0C7D08807AE2}"/>
              </a:ext>
            </a:extLst>
          </p:cNvPr>
          <p:cNvSpPr/>
          <p:nvPr/>
        </p:nvSpPr>
        <p:spPr>
          <a:xfrm>
            <a:off x="7769185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4" name="Ellipse 153">
            <a:extLst>
              <a:ext uri="{FF2B5EF4-FFF2-40B4-BE49-F238E27FC236}">
                <a16:creationId xmlns:a16="http://schemas.microsoft.com/office/drawing/2014/main" id="{1C8E4950-8FA4-4C3B-9DF3-3D4709A95D2E}"/>
              </a:ext>
            </a:extLst>
          </p:cNvPr>
          <p:cNvSpPr/>
          <p:nvPr/>
        </p:nvSpPr>
        <p:spPr>
          <a:xfrm>
            <a:off x="8309185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5" name="Ellipse 154">
            <a:extLst>
              <a:ext uri="{FF2B5EF4-FFF2-40B4-BE49-F238E27FC236}">
                <a16:creationId xmlns:a16="http://schemas.microsoft.com/office/drawing/2014/main" id="{1789B1DC-9F43-46AE-BDC7-13448D9E5493}"/>
              </a:ext>
            </a:extLst>
          </p:cNvPr>
          <p:cNvSpPr/>
          <p:nvPr/>
        </p:nvSpPr>
        <p:spPr>
          <a:xfrm>
            <a:off x="7499185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6" name="Ellipse 155">
            <a:extLst>
              <a:ext uri="{FF2B5EF4-FFF2-40B4-BE49-F238E27FC236}">
                <a16:creationId xmlns:a16="http://schemas.microsoft.com/office/drawing/2014/main" id="{78E162A7-567A-4798-8CB6-579E5E0B3488}"/>
              </a:ext>
            </a:extLst>
          </p:cNvPr>
          <p:cNvSpPr/>
          <p:nvPr/>
        </p:nvSpPr>
        <p:spPr>
          <a:xfrm>
            <a:off x="8039185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7" name="Gerader Verbinder 156">
            <a:extLst>
              <a:ext uri="{FF2B5EF4-FFF2-40B4-BE49-F238E27FC236}">
                <a16:creationId xmlns:a16="http://schemas.microsoft.com/office/drawing/2014/main" id="{0B1BDE40-16EF-4484-AB42-23D507238486}"/>
              </a:ext>
            </a:extLst>
          </p:cNvPr>
          <p:cNvCxnSpPr>
            <a:cxnSpLocks/>
            <a:stCxn id="147" idx="3"/>
            <a:endCxn id="148" idx="0"/>
          </p:cNvCxnSpPr>
          <p:nvPr/>
        </p:nvCxnSpPr>
        <p:spPr>
          <a:xfrm flipH="1">
            <a:off x="7589185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Gerader Verbinder 157">
            <a:extLst>
              <a:ext uri="{FF2B5EF4-FFF2-40B4-BE49-F238E27FC236}">
                <a16:creationId xmlns:a16="http://schemas.microsoft.com/office/drawing/2014/main" id="{53AAB971-054B-4763-B0C8-C6D56FB802EE}"/>
              </a:ext>
            </a:extLst>
          </p:cNvPr>
          <p:cNvCxnSpPr>
            <a:cxnSpLocks/>
            <a:stCxn id="147" idx="2"/>
            <a:endCxn id="151" idx="7"/>
          </p:cNvCxnSpPr>
          <p:nvPr/>
        </p:nvCxnSpPr>
        <p:spPr>
          <a:xfrm flipH="1">
            <a:off x="7112825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Gerader Verbinder 158">
            <a:extLst>
              <a:ext uri="{FF2B5EF4-FFF2-40B4-BE49-F238E27FC236}">
                <a16:creationId xmlns:a16="http://schemas.microsoft.com/office/drawing/2014/main" id="{46732646-D7D1-4684-A107-E2961B54B199}"/>
              </a:ext>
            </a:extLst>
          </p:cNvPr>
          <p:cNvCxnSpPr>
            <a:cxnSpLocks/>
            <a:stCxn id="147" idx="5"/>
            <a:endCxn id="149" idx="0"/>
          </p:cNvCxnSpPr>
          <p:nvPr/>
        </p:nvCxnSpPr>
        <p:spPr>
          <a:xfrm>
            <a:off x="7922825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Gerader Verbinder 159">
            <a:extLst>
              <a:ext uri="{FF2B5EF4-FFF2-40B4-BE49-F238E27FC236}">
                <a16:creationId xmlns:a16="http://schemas.microsoft.com/office/drawing/2014/main" id="{6B835439-D1A9-4043-878E-0A519588C994}"/>
              </a:ext>
            </a:extLst>
          </p:cNvPr>
          <p:cNvCxnSpPr>
            <a:cxnSpLocks/>
            <a:stCxn id="151" idx="4"/>
            <a:endCxn id="152" idx="0"/>
          </p:cNvCxnSpPr>
          <p:nvPr/>
        </p:nvCxnSpPr>
        <p:spPr>
          <a:xfrm>
            <a:off x="704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Gerader Verbinder 160">
            <a:extLst>
              <a:ext uri="{FF2B5EF4-FFF2-40B4-BE49-F238E27FC236}">
                <a16:creationId xmlns:a16="http://schemas.microsoft.com/office/drawing/2014/main" id="{297C8CF1-BA3E-4082-B9D0-7BBAC5496E4E}"/>
              </a:ext>
            </a:extLst>
          </p:cNvPr>
          <p:cNvCxnSpPr>
            <a:cxnSpLocks/>
            <a:stCxn id="147" idx="6"/>
            <a:endCxn id="150" idx="1"/>
          </p:cNvCxnSpPr>
          <p:nvPr/>
        </p:nvCxnSpPr>
        <p:spPr>
          <a:xfrm>
            <a:off x="7949185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Gerader Verbinder 161">
            <a:extLst>
              <a:ext uri="{FF2B5EF4-FFF2-40B4-BE49-F238E27FC236}">
                <a16:creationId xmlns:a16="http://schemas.microsoft.com/office/drawing/2014/main" id="{F1F8F178-8D40-45DF-B55F-E12ED73AA61A}"/>
              </a:ext>
            </a:extLst>
          </p:cNvPr>
          <p:cNvCxnSpPr>
            <a:cxnSpLocks/>
            <a:stCxn id="148" idx="4"/>
            <a:endCxn id="152" idx="0"/>
          </p:cNvCxnSpPr>
          <p:nvPr/>
        </p:nvCxnSpPr>
        <p:spPr>
          <a:xfrm flipH="1">
            <a:off x="731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Gerader Verbinder 162">
            <a:extLst>
              <a:ext uri="{FF2B5EF4-FFF2-40B4-BE49-F238E27FC236}">
                <a16:creationId xmlns:a16="http://schemas.microsoft.com/office/drawing/2014/main" id="{930DDB00-9AA0-47C9-816D-4168D0858D84}"/>
              </a:ext>
            </a:extLst>
          </p:cNvPr>
          <p:cNvCxnSpPr>
            <a:cxnSpLocks/>
            <a:stCxn id="149" idx="4"/>
            <a:endCxn id="152" idx="0"/>
          </p:cNvCxnSpPr>
          <p:nvPr/>
        </p:nvCxnSpPr>
        <p:spPr>
          <a:xfrm flipH="1">
            <a:off x="731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DDB67627-76F6-4CD8-B9E4-8F67FEDFA3AC}"/>
              </a:ext>
            </a:extLst>
          </p:cNvPr>
          <p:cNvCxnSpPr>
            <a:cxnSpLocks/>
            <a:stCxn id="150" idx="4"/>
            <a:endCxn id="152" idx="0"/>
          </p:cNvCxnSpPr>
          <p:nvPr/>
        </p:nvCxnSpPr>
        <p:spPr>
          <a:xfrm flipH="1">
            <a:off x="7319185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r Verbinder 164">
            <a:extLst>
              <a:ext uri="{FF2B5EF4-FFF2-40B4-BE49-F238E27FC236}">
                <a16:creationId xmlns:a16="http://schemas.microsoft.com/office/drawing/2014/main" id="{79496B36-CA1C-480F-BDF6-16AEE291B768}"/>
              </a:ext>
            </a:extLst>
          </p:cNvPr>
          <p:cNvCxnSpPr>
            <a:cxnSpLocks/>
            <a:stCxn id="151" idx="4"/>
            <a:endCxn id="153" idx="0"/>
          </p:cNvCxnSpPr>
          <p:nvPr/>
        </p:nvCxnSpPr>
        <p:spPr>
          <a:xfrm>
            <a:off x="704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r Verbinder 165">
            <a:extLst>
              <a:ext uri="{FF2B5EF4-FFF2-40B4-BE49-F238E27FC236}">
                <a16:creationId xmlns:a16="http://schemas.microsoft.com/office/drawing/2014/main" id="{9CDE44C8-00F5-4BEA-A463-E972109A6527}"/>
              </a:ext>
            </a:extLst>
          </p:cNvPr>
          <p:cNvCxnSpPr>
            <a:cxnSpLocks/>
            <a:stCxn id="148" idx="4"/>
            <a:endCxn id="153" idx="0"/>
          </p:cNvCxnSpPr>
          <p:nvPr/>
        </p:nvCxnSpPr>
        <p:spPr>
          <a:xfrm>
            <a:off x="758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r Verbinder 166">
            <a:extLst>
              <a:ext uri="{FF2B5EF4-FFF2-40B4-BE49-F238E27FC236}">
                <a16:creationId xmlns:a16="http://schemas.microsoft.com/office/drawing/2014/main" id="{55091EB3-62F9-44A9-A965-55363DD0B85F}"/>
              </a:ext>
            </a:extLst>
          </p:cNvPr>
          <p:cNvCxnSpPr>
            <a:cxnSpLocks/>
            <a:stCxn id="149" idx="4"/>
            <a:endCxn id="153" idx="0"/>
          </p:cNvCxnSpPr>
          <p:nvPr/>
        </p:nvCxnSpPr>
        <p:spPr>
          <a:xfrm flipH="1">
            <a:off x="785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Gerader Verbinder 167">
            <a:extLst>
              <a:ext uri="{FF2B5EF4-FFF2-40B4-BE49-F238E27FC236}">
                <a16:creationId xmlns:a16="http://schemas.microsoft.com/office/drawing/2014/main" id="{984D4329-DC76-4CC9-BE6F-BBFAD825AD48}"/>
              </a:ext>
            </a:extLst>
          </p:cNvPr>
          <p:cNvCxnSpPr>
            <a:cxnSpLocks/>
            <a:stCxn id="150" idx="4"/>
            <a:endCxn id="153" idx="0"/>
          </p:cNvCxnSpPr>
          <p:nvPr/>
        </p:nvCxnSpPr>
        <p:spPr>
          <a:xfrm flipH="1">
            <a:off x="785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2F3B95C4-6458-418A-BA68-769B197A1AAF}"/>
              </a:ext>
            </a:extLst>
          </p:cNvPr>
          <p:cNvCxnSpPr>
            <a:cxnSpLocks/>
            <a:stCxn id="151" idx="4"/>
            <a:endCxn id="154" idx="0"/>
          </p:cNvCxnSpPr>
          <p:nvPr/>
        </p:nvCxnSpPr>
        <p:spPr>
          <a:xfrm>
            <a:off x="7049185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A30A14B8-1019-4B2C-AFD6-6E392C04F346}"/>
              </a:ext>
            </a:extLst>
          </p:cNvPr>
          <p:cNvCxnSpPr>
            <a:cxnSpLocks/>
            <a:stCxn id="148" idx="4"/>
            <a:endCxn id="154" idx="0"/>
          </p:cNvCxnSpPr>
          <p:nvPr/>
        </p:nvCxnSpPr>
        <p:spPr>
          <a:xfrm>
            <a:off x="758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42CD9F83-2DA4-4AF9-A1A4-F229740236D7}"/>
              </a:ext>
            </a:extLst>
          </p:cNvPr>
          <p:cNvCxnSpPr>
            <a:cxnSpLocks/>
            <a:stCxn id="149" idx="4"/>
            <a:endCxn id="154" idx="0"/>
          </p:cNvCxnSpPr>
          <p:nvPr/>
        </p:nvCxnSpPr>
        <p:spPr>
          <a:xfrm>
            <a:off x="812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3DF30795-F787-46B8-970F-EFC0F448A652}"/>
              </a:ext>
            </a:extLst>
          </p:cNvPr>
          <p:cNvCxnSpPr>
            <a:cxnSpLocks/>
            <a:stCxn id="150" idx="4"/>
            <a:endCxn id="154" idx="0"/>
          </p:cNvCxnSpPr>
          <p:nvPr/>
        </p:nvCxnSpPr>
        <p:spPr>
          <a:xfrm flipH="1">
            <a:off x="839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5C2466F0-29D7-4BD4-A617-D7D9FC8F7D48}"/>
              </a:ext>
            </a:extLst>
          </p:cNvPr>
          <p:cNvCxnSpPr>
            <a:cxnSpLocks/>
            <a:stCxn id="152" idx="4"/>
            <a:endCxn id="155" idx="0"/>
          </p:cNvCxnSpPr>
          <p:nvPr/>
        </p:nvCxnSpPr>
        <p:spPr>
          <a:xfrm>
            <a:off x="731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C59D63BE-8570-4FEF-A7E1-D907CCE43248}"/>
              </a:ext>
            </a:extLst>
          </p:cNvPr>
          <p:cNvCxnSpPr>
            <a:cxnSpLocks/>
            <a:stCxn id="152" idx="4"/>
            <a:endCxn id="156" idx="0"/>
          </p:cNvCxnSpPr>
          <p:nvPr/>
        </p:nvCxnSpPr>
        <p:spPr>
          <a:xfrm>
            <a:off x="7319185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15F73BBD-B839-4D22-A553-8CD694AA39C0}"/>
              </a:ext>
            </a:extLst>
          </p:cNvPr>
          <p:cNvCxnSpPr>
            <a:cxnSpLocks/>
            <a:stCxn id="153" idx="4"/>
            <a:endCxn id="155" idx="0"/>
          </p:cNvCxnSpPr>
          <p:nvPr/>
        </p:nvCxnSpPr>
        <p:spPr>
          <a:xfrm flipH="1">
            <a:off x="758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D07C0B8B-F41F-41BB-BA43-AEBF5ACD5FA7}"/>
              </a:ext>
            </a:extLst>
          </p:cNvPr>
          <p:cNvCxnSpPr>
            <a:cxnSpLocks/>
            <a:stCxn id="154" idx="4"/>
            <a:endCxn id="155" idx="0"/>
          </p:cNvCxnSpPr>
          <p:nvPr/>
        </p:nvCxnSpPr>
        <p:spPr>
          <a:xfrm flipH="1">
            <a:off x="7589185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156C8E0A-18EC-4831-9F7A-B2A3C648D9FA}"/>
              </a:ext>
            </a:extLst>
          </p:cNvPr>
          <p:cNvCxnSpPr>
            <a:cxnSpLocks/>
            <a:stCxn id="153" idx="4"/>
            <a:endCxn id="156" idx="0"/>
          </p:cNvCxnSpPr>
          <p:nvPr/>
        </p:nvCxnSpPr>
        <p:spPr>
          <a:xfrm>
            <a:off x="785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" name="Gerader Verbinder 177">
            <a:extLst>
              <a:ext uri="{FF2B5EF4-FFF2-40B4-BE49-F238E27FC236}">
                <a16:creationId xmlns:a16="http://schemas.microsoft.com/office/drawing/2014/main" id="{3FE72F70-7DFA-411D-AF6D-0DADC1343DBA}"/>
              </a:ext>
            </a:extLst>
          </p:cNvPr>
          <p:cNvCxnSpPr>
            <a:cxnSpLocks/>
            <a:stCxn id="154" idx="4"/>
            <a:endCxn id="156" idx="0"/>
          </p:cNvCxnSpPr>
          <p:nvPr/>
        </p:nvCxnSpPr>
        <p:spPr>
          <a:xfrm flipH="1">
            <a:off x="812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B23868E-0561-4D84-8BBF-9849E480074E}"/>
              </a:ext>
            </a:extLst>
          </p:cNvPr>
          <p:cNvCxnSpPr>
            <a:cxnSpLocks/>
          </p:cNvCxnSpPr>
          <p:nvPr/>
        </p:nvCxnSpPr>
        <p:spPr>
          <a:xfrm flipV="1">
            <a:off x="7589185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5B1534BB-371E-48C9-A946-4C5FF1E692B6}"/>
              </a:ext>
            </a:extLst>
          </p:cNvPr>
          <p:cNvCxnSpPr>
            <a:cxnSpLocks/>
          </p:cNvCxnSpPr>
          <p:nvPr/>
        </p:nvCxnSpPr>
        <p:spPr>
          <a:xfrm flipV="1">
            <a:off x="8129185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D87A8E9-E87E-4D24-BD4A-4889AAA2B160}"/>
              </a:ext>
            </a:extLst>
          </p:cNvPr>
          <p:cNvCxnSpPr>
            <a:cxnSpLocks/>
          </p:cNvCxnSpPr>
          <p:nvPr/>
        </p:nvCxnSpPr>
        <p:spPr>
          <a:xfrm flipV="1">
            <a:off x="8857405" y="1620000"/>
            <a:ext cx="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D428DF0D-8CD7-4306-9710-705862CCB40A}"/>
              </a:ext>
            </a:extLst>
          </p:cNvPr>
          <p:cNvCxnSpPr>
            <a:cxnSpLocks/>
            <a:stCxn id="180" idx="1"/>
            <a:endCxn id="179" idx="3"/>
          </p:cNvCxnSpPr>
          <p:nvPr/>
        </p:nvCxnSpPr>
        <p:spPr>
          <a:xfrm flipH="1">
            <a:off x="3886180" y="3462811"/>
            <a:ext cx="27179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2" name="Textfeld 191">
            <a:extLst>
              <a:ext uri="{FF2B5EF4-FFF2-40B4-BE49-F238E27FC236}">
                <a16:creationId xmlns:a16="http://schemas.microsoft.com/office/drawing/2014/main" id="{9FF5DD64-EF0E-4AD9-B335-6FA6F8632D9E}"/>
              </a:ext>
            </a:extLst>
          </p:cNvPr>
          <p:cNvSpPr txBox="1"/>
          <p:nvPr/>
        </p:nvSpPr>
        <p:spPr>
          <a:xfrm>
            <a:off x="4672326" y="2798238"/>
            <a:ext cx="1491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Parameter kopieren</a:t>
            </a:r>
          </a:p>
        </p:txBody>
      </p:sp>
      <p:sp>
        <p:nvSpPr>
          <p:cNvPr id="193" name="Textfeld 192">
            <a:extLst>
              <a:ext uri="{FF2B5EF4-FFF2-40B4-BE49-F238E27FC236}">
                <a16:creationId xmlns:a16="http://schemas.microsoft.com/office/drawing/2014/main" id="{C470EB97-8879-47AA-871F-5C84C0D72E41}"/>
              </a:ext>
            </a:extLst>
          </p:cNvPr>
          <p:cNvSpPr txBox="1"/>
          <p:nvPr/>
        </p:nvSpPr>
        <p:spPr>
          <a:xfrm>
            <a:off x="5847159" y="4545511"/>
            <a:ext cx="1567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Q-Netzwerk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2DD2A19E-CD05-4F2D-B9BA-7A1583E68668}"/>
              </a:ext>
            </a:extLst>
          </p:cNvPr>
          <p:cNvSpPr txBox="1"/>
          <p:nvPr/>
        </p:nvSpPr>
        <p:spPr>
          <a:xfrm>
            <a:off x="635197" y="4518090"/>
            <a:ext cx="18716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Ziel-Netzwerk</a:t>
            </a:r>
          </a:p>
        </p:txBody>
      </p:sp>
      <p:cxnSp>
        <p:nvCxnSpPr>
          <p:cNvPr id="199" name="Gerader Verbinder 198">
            <a:extLst>
              <a:ext uri="{FF2B5EF4-FFF2-40B4-BE49-F238E27FC236}">
                <a16:creationId xmlns:a16="http://schemas.microsoft.com/office/drawing/2014/main" id="{AA89A691-1946-4005-B71A-7E0C1C8BE91E}"/>
              </a:ext>
            </a:extLst>
          </p:cNvPr>
          <p:cNvCxnSpPr>
            <a:cxnSpLocks/>
          </p:cNvCxnSpPr>
          <p:nvPr/>
        </p:nvCxnSpPr>
        <p:spPr>
          <a:xfrm>
            <a:off x="7848000" y="1980000"/>
            <a:ext cx="6855" cy="5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B6731D96-6499-40FA-B2C1-9A2DC6DEFE37}"/>
              </a:ext>
            </a:extLst>
          </p:cNvPr>
          <p:cNvCxnSpPr>
            <a:cxnSpLocks/>
          </p:cNvCxnSpPr>
          <p:nvPr/>
        </p:nvCxnSpPr>
        <p:spPr>
          <a:xfrm flipV="1">
            <a:off x="7847999" y="1980000"/>
            <a:ext cx="100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3622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ZeZko4q8VujmhC053y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ZeZko4q8VujmhC053yag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niversität Siegen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ni_Siegen.pptx" id="{8326334F-5B5C-46C5-9950-C23B6FB21B55}" vid="{DEBD31C2-369D-41F1-8A7F-8FA7E6603AF4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70</Words>
  <Application>Microsoft Office PowerPoint</Application>
  <PresentationFormat>Benutzerdefiniert</PresentationFormat>
  <Paragraphs>407</Paragraphs>
  <Slides>2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2" baseType="lpstr">
      <vt:lpstr>Arial</vt:lpstr>
      <vt:lpstr>Bliss 2 Regular</vt:lpstr>
      <vt:lpstr>Calibri</vt:lpstr>
      <vt:lpstr>Calibri Light</vt:lpstr>
      <vt:lpstr>Cambria Math</vt:lpstr>
      <vt:lpstr>Trebuchet MS</vt:lpstr>
      <vt:lpstr>Wingdings</vt:lpstr>
      <vt:lpstr>Office</vt:lpstr>
      <vt:lpstr>Universität Sieg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scal Krömpel</dc:creator>
  <cp:lastModifiedBy>Pascal Krömpel</cp:lastModifiedBy>
  <cp:revision>7</cp:revision>
  <dcterms:created xsi:type="dcterms:W3CDTF">2021-02-12T14:11:17Z</dcterms:created>
  <dcterms:modified xsi:type="dcterms:W3CDTF">2022-09-06T05:34:39Z</dcterms:modified>
</cp:coreProperties>
</file>